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8"/>
  </p:notesMasterIdLst>
  <p:sldIdLst>
    <p:sldId id="256" r:id="rId2"/>
    <p:sldId id="257" r:id="rId3"/>
    <p:sldId id="258" r:id="rId4"/>
    <p:sldId id="259" r:id="rId5"/>
    <p:sldId id="273" r:id="rId6"/>
    <p:sldId id="274" r:id="rId7"/>
    <p:sldId id="261" r:id="rId8"/>
    <p:sldId id="262" r:id="rId9"/>
    <p:sldId id="264" r:id="rId10"/>
    <p:sldId id="269" r:id="rId11"/>
    <p:sldId id="271" r:id="rId12"/>
    <p:sldId id="268" r:id="rId13"/>
    <p:sldId id="272" r:id="rId14"/>
    <p:sldId id="265" r:id="rId15"/>
    <p:sldId id="266" r:id="rId16"/>
    <p:sldId id="267" r:id="rId17"/>
  </p:sldIdLst>
  <p:sldSz cx="24384000" cy="13716000"/>
  <p:notesSz cx="6858000" cy="9144000"/>
  <p:custDataLst>
    <p:tags r:id="rId19"/>
  </p:custDataLst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EEEEEE"/>
        </a:solidFill>
        <a:effectLst/>
        <a:uFillTx/>
        <a:latin typeface="Helvetica Neue Bold Condensed"/>
        <a:ea typeface="Helvetica Neue Bold Condensed"/>
        <a:cs typeface="Helvetica Neue Bold Condensed"/>
        <a:sym typeface="Helvetica Neue Bold Condensed"/>
      </a:defRPr>
    </a:lvl1pPr>
    <a:lvl2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EEEEEE"/>
        </a:solidFill>
        <a:effectLst/>
        <a:uFillTx/>
        <a:latin typeface="Helvetica Neue Bold Condensed"/>
        <a:ea typeface="Helvetica Neue Bold Condensed"/>
        <a:cs typeface="Helvetica Neue Bold Condensed"/>
        <a:sym typeface="Helvetica Neue Bold Condensed"/>
      </a:defRPr>
    </a:lvl2pPr>
    <a:lvl3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EEEEEE"/>
        </a:solidFill>
        <a:effectLst/>
        <a:uFillTx/>
        <a:latin typeface="Helvetica Neue Bold Condensed"/>
        <a:ea typeface="Helvetica Neue Bold Condensed"/>
        <a:cs typeface="Helvetica Neue Bold Condensed"/>
        <a:sym typeface="Helvetica Neue Bold Condensed"/>
      </a:defRPr>
    </a:lvl3pPr>
    <a:lvl4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EEEEEE"/>
        </a:solidFill>
        <a:effectLst/>
        <a:uFillTx/>
        <a:latin typeface="Helvetica Neue Bold Condensed"/>
        <a:ea typeface="Helvetica Neue Bold Condensed"/>
        <a:cs typeface="Helvetica Neue Bold Condensed"/>
        <a:sym typeface="Helvetica Neue Bold Condensed"/>
      </a:defRPr>
    </a:lvl4pPr>
    <a:lvl5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EEEEEE"/>
        </a:solidFill>
        <a:effectLst/>
        <a:uFillTx/>
        <a:latin typeface="Helvetica Neue Bold Condensed"/>
        <a:ea typeface="Helvetica Neue Bold Condensed"/>
        <a:cs typeface="Helvetica Neue Bold Condensed"/>
        <a:sym typeface="Helvetica Neue Bold Condensed"/>
      </a:defRPr>
    </a:lvl5pPr>
    <a:lvl6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EEEEEE"/>
        </a:solidFill>
        <a:effectLst/>
        <a:uFillTx/>
        <a:latin typeface="Helvetica Neue Bold Condensed"/>
        <a:ea typeface="Helvetica Neue Bold Condensed"/>
        <a:cs typeface="Helvetica Neue Bold Condensed"/>
        <a:sym typeface="Helvetica Neue Bold Condensed"/>
      </a:defRPr>
    </a:lvl6pPr>
    <a:lvl7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EEEEEE"/>
        </a:solidFill>
        <a:effectLst/>
        <a:uFillTx/>
        <a:latin typeface="Helvetica Neue Bold Condensed"/>
        <a:ea typeface="Helvetica Neue Bold Condensed"/>
        <a:cs typeface="Helvetica Neue Bold Condensed"/>
        <a:sym typeface="Helvetica Neue Bold Condensed"/>
      </a:defRPr>
    </a:lvl7pPr>
    <a:lvl8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EEEEEE"/>
        </a:solidFill>
        <a:effectLst/>
        <a:uFillTx/>
        <a:latin typeface="Helvetica Neue Bold Condensed"/>
        <a:ea typeface="Helvetica Neue Bold Condensed"/>
        <a:cs typeface="Helvetica Neue Bold Condensed"/>
        <a:sym typeface="Helvetica Neue Bold Condensed"/>
      </a:defRPr>
    </a:lvl8pPr>
    <a:lvl9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EEEEEE"/>
        </a:solidFill>
        <a:effectLst/>
        <a:uFillTx/>
        <a:latin typeface="Helvetica Neue Bold Condensed"/>
        <a:ea typeface="Helvetica Neue Bold Condensed"/>
        <a:cs typeface="Helvetica Neue Bold Condensed"/>
        <a:sym typeface="Helvetica Neue Bold Condensed"/>
      </a:defRPr>
    </a:lvl9pPr>
  </p:defaultTextStyle>
  <p:extLst>
    <p:ext uri="{521415D9-36F7-43E2-AB2F-B90AF26B5E84}">
      <p14:sectionLst xmlns:p14="http://schemas.microsoft.com/office/powerpoint/2010/main">
        <p14:section name="מקטע ברירת מחדל" id="{843BC8C5-895B-4A80-9B7B-F1A90987D124}">
          <p14:sldIdLst>
            <p14:sldId id="256"/>
            <p14:sldId id="257"/>
            <p14:sldId id="258"/>
            <p14:sldId id="259"/>
            <p14:sldId id="273"/>
            <p14:sldId id="274"/>
            <p14:sldId id="261"/>
            <p14:sldId id="262"/>
            <p14:sldId id="264"/>
            <p14:sldId id="269"/>
            <p14:sldId id="271"/>
            <p14:sldId id="268"/>
            <p14:sldId id="272"/>
            <p14:sldId id="265"/>
            <p14:sldId id="266"/>
            <p14:sldId id="26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320">
          <p15:clr>
            <a:srgbClr val="A4A3A4"/>
          </p15:clr>
        </p15:guide>
        <p15:guide id="2" pos="76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n" i="off">
        <a:font>
          <a:latin typeface="Helvetica Neue Bold Condensed"/>
          <a:ea typeface="Helvetica Neue Bold Condensed"/>
          <a:cs typeface="Helvetica Neue Bold Condensed"/>
        </a:font>
        <a:srgbClr val="2D2D2D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4D7"/>
          </a:solidFill>
        </a:fill>
      </a:tcStyle>
    </a:wholeTbl>
    <a:band2H>
      <a:tcTxStyle/>
      <a:tcStyle>
        <a:tcBdr/>
        <a:fill>
          <a:solidFill>
            <a:srgbClr val="DDDBCF"/>
          </a:solidFill>
        </a:fill>
      </a:tcStyle>
    </a:band2H>
    <a:firstCol>
      <a:tcTxStyle b="on" i="off">
        <a:font>
          <a:latin typeface="Helvetica Neue Bold Condensed"/>
          <a:ea typeface="Helvetica Neue Bold Condensed"/>
          <a:cs typeface="Helvetica Neue Bold Condensed"/>
        </a:font>
        <a:srgbClr val="2D2D2D"/>
      </a:tcTxStyle>
      <a:tcStyle>
        <a:tcBdr>
          <a:left>
            <a:ln w="12700" cap="flat">
              <a:noFill/>
              <a:miter lim="400000"/>
            </a:ln>
          </a:left>
          <a:right>
            <a:ln w="25400" cap="flat">
              <a:solidFill>
                <a:srgbClr val="AC9C88"/>
              </a:solidFill>
              <a:prstDash val="solid"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D6D4C8"/>
          </a:solidFill>
        </a:fill>
      </a:tcStyle>
    </a:firstCol>
    <a:la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2D2D2D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878889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878889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BDBDBD"/>
          </a:solidFill>
        </a:fill>
      </a:tcStyle>
    </a:lastRow>
    <a:fir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25400" cap="flat">
              <a:solidFill>
                <a:srgbClr val="8F2817"/>
              </a:solidFill>
              <a:prstDash val="solid"/>
              <a:miter lim="400000"/>
            </a:ln>
          </a:bottom>
          <a:insideH>
            <a:ln w="12700" cap="flat">
              <a:solidFill>
                <a:srgbClr val="8F2817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B8341D"/>
          </a:solidFill>
        </a:fill>
      </a:tcStyle>
    </a:firstRow>
  </a:tblStyle>
  <a:tblStyle styleId="{C7B018BB-80A7-4F77-B60F-C8B233D01FF8}" styleName="">
    <a:tblBg/>
    <a:wholeTbl>
      <a:tcTxStyle b="on" i="off">
        <a:font>
          <a:latin typeface="Helvetica Neue Bold Condensed"/>
          <a:ea typeface="Helvetica Neue Bold Condensed"/>
          <a:cs typeface="Helvetica Neue Bold Condensed"/>
        </a:font>
        <a:srgbClr val="2D2D2D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AC9C88"/>
              </a:solidFill>
              <a:prstDash val="solid"/>
              <a:miter lim="400000"/>
            </a:ln>
          </a:top>
          <a:bottom>
            <a:ln w="12700" cap="flat">
              <a:solidFill>
                <a:srgbClr val="AC9C88"/>
              </a:solidFill>
              <a:prstDash val="solid"/>
              <a:miter lim="400000"/>
            </a:ln>
          </a:bottom>
          <a:insideH>
            <a:ln w="12700" cap="flat">
              <a:solidFill>
                <a:srgbClr val="AC9C88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0EEE0"/>
          </a:solidFill>
        </a:fill>
      </a:tcStyle>
    </a:wholeTbl>
    <a:band2H>
      <a:tcTxStyle/>
      <a:tcStyle>
        <a:tcBdr/>
        <a:fill>
          <a:solidFill>
            <a:srgbClr val="F0EEE0">
              <a:alpha val="93000"/>
            </a:srgbClr>
          </a:solidFill>
        </a:fill>
      </a:tcStyle>
    </a:band2H>
    <a:firstCol>
      <a:tcTxStyle b="on" i="off">
        <a:font>
          <a:latin typeface="Helvetica Neue Bold Condensed"/>
          <a:ea typeface="Helvetica Neue Bold Condensed"/>
          <a:cs typeface="Helvetica Neue Bold Condensed"/>
        </a:font>
        <a:srgbClr val="2D2D2D"/>
      </a:tcTxStyle>
      <a:tcStyle>
        <a:tcBdr>
          <a:left>
            <a:ln w="12700" cap="flat">
              <a:solidFill>
                <a:srgbClr val="AC9C88"/>
              </a:solidFill>
              <a:prstDash val="solid"/>
              <a:miter lim="400000"/>
            </a:ln>
          </a:left>
          <a:right>
            <a:ln w="25400" cap="flat">
              <a:solidFill>
                <a:srgbClr val="AC9C88"/>
              </a:solidFill>
              <a:prstDash val="solid"/>
              <a:miter lim="400000"/>
            </a:ln>
          </a:right>
          <a:top>
            <a:ln w="12700" cap="flat">
              <a:solidFill>
                <a:srgbClr val="AC9C88"/>
              </a:solidFill>
              <a:prstDash val="solid"/>
              <a:miter lim="400000"/>
            </a:ln>
          </a:top>
          <a:bottom>
            <a:ln w="12700" cap="flat">
              <a:solidFill>
                <a:srgbClr val="AC9C88"/>
              </a:solidFill>
              <a:prstDash val="solid"/>
              <a:miter lim="400000"/>
            </a:ln>
          </a:bottom>
          <a:insideH>
            <a:ln w="12700" cap="flat">
              <a:solidFill>
                <a:srgbClr val="AC9C88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AC9C88"/>
              </a:solidFill>
              <a:prstDash val="solid"/>
              <a:miter lim="400000"/>
            </a:ln>
          </a:top>
          <a:bottom>
            <a:ln w="12700" cap="flat">
              <a:solidFill>
                <a:srgbClr val="5F5857"/>
              </a:solidFill>
              <a:prstDash val="solid"/>
              <a:miter lim="400000"/>
            </a:ln>
          </a:bottom>
          <a:insideH>
            <a:ln w="12700" cap="flat">
              <a:solidFill>
                <a:srgbClr val="972318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5F5857"/>
              </a:solidFill>
              <a:prstDash val="solid"/>
              <a:miter lim="400000"/>
            </a:ln>
          </a:top>
          <a:bottom>
            <a:ln w="25400" cap="flat">
              <a:solidFill>
                <a:srgbClr val="AC9C88"/>
              </a:solidFill>
              <a:prstDash val="solid"/>
              <a:miter lim="400000"/>
            </a:ln>
          </a:bottom>
          <a:insideH>
            <a:ln w="12700" cap="flat">
              <a:solidFill>
                <a:srgbClr val="B14019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noFill/>
        </a:fill>
      </a:tcStyle>
    </a:firstRow>
  </a:tblStyle>
  <a:tblStyle styleId="{EEE7283C-3CF3-47DC-8721-378D4A62B228}" styleName="">
    <a:tblBg/>
    <a:wholeTbl>
      <a:tcTxStyle b="on" i="off">
        <a:font>
          <a:latin typeface="Helvetica Neue Bold Condensed"/>
          <a:ea typeface="Helvetica Neue Bold Condensed"/>
          <a:cs typeface="Helvetica Neue Bold Condensed"/>
        </a:font>
        <a:srgbClr val="2D2D2D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AC9C88"/>
              </a:solidFill>
              <a:prstDash val="solid"/>
              <a:miter lim="400000"/>
            </a:ln>
          </a:top>
          <a:bottom>
            <a:ln w="12700" cap="flat">
              <a:solidFill>
                <a:srgbClr val="AC9C88"/>
              </a:solidFill>
              <a:prstDash val="solid"/>
              <a:miter lim="400000"/>
            </a:ln>
          </a:bottom>
          <a:insideH>
            <a:ln w="12700" cap="flat">
              <a:solidFill>
                <a:srgbClr val="AC9C88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0EEE0"/>
          </a:solidFill>
        </a:fill>
      </a:tcStyle>
    </a:wholeTbl>
    <a:band2H>
      <a:tcTxStyle/>
      <a:tcStyle>
        <a:tcBdr/>
        <a:fill>
          <a:solidFill>
            <a:srgbClr val="F0EEE0">
              <a:alpha val="93000"/>
            </a:srgbClr>
          </a:solidFill>
        </a:fill>
      </a:tcStyle>
    </a:band2H>
    <a:firstCol>
      <a:tcTxStyle b="on" i="off">
        <a:font>
          <a:latin typeface="Helvetica Neue Bold Condensed"/>
          <a:ea typeface="Helvetica Neue Bold Condensed"/>
          <a:cs typeface="Helvetica Neue Bold Condensed"/>
        </a:font>
        <a:srgbClr val="2D2D2D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AC9C88"/>
              </a:solidFill>
              <a:prstDash val="solid"/>
              <a:miter lim="400000"/>
            </a:ln>
          </a:top>
          <a:bottom>
            <a:ln w="12700" cap="flat">
              <a:solidFill>
                <a:srgbClr val="AC9C88"/>
              </a:solidFill>
              <a:prstDash val="solid"/>
              <a:miter lim="400000"/>
            </a:ln>
          </a:bottom>
          <a:insideH>
            <a:ln w="12700" cap="flat">
              <a:solidFill>
                <a:srgbClr val="AC9C88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D6D4C8"/>
          </a:solidFill>
        </a:fill>
      </a:tcStyle>
    </a:firstCol>
    <a:la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2D2D2D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C29124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4AA2A"/>
          </a:solidFill>
        </a:fill>
      </a:tcStyle>
    </a:lastRow>
    <a:fir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AAAAAA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858585"/>
          </a:solidFill>
        </a:fill>
      </a:tcStyle>
    </a:firstRow>
  </a:tblStyle>
  <a:tblStyle styleId="{CF821DB8-F4EB-4A41-A1BA-3FCAFE7338EE}" styleName="">
    <a:tblBg/>
    <a:wholeTbl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797979">
                  <a:alpha val="38000"/>
                </a:srgbClr>
              </a:solidFill>
              <a:prstDash val="solid"/>
              <a:miter lim="400000"/>
            </a:ln>
          </a:top>
          <a:bottom>
            <a:ln w="12700" cap="flat">
              <a:solidFill>
                <a:srgbClr val="797979">
                  <a:alpha val="38000"/>
                </a:srgbClr>
              </a:solidFill>
              <a:prstDash val="solid"/>
              <a:miter lim="400000"/>
            </a:ln>
          </a:bottom>
          <a:insideH>
            <a:ln w="12700" cap="flat">
              <a:solidFill>
                <a:srgbClr val="797979">
                  <a:alpha val="38000"/>
                </a:srgbClr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86B5C3">
              <a:alpha val="14000"/>
            </a:srgbClr>
          </a:solidFill>
        </a:fill>
      </a:tcStyle>
    </a:band2H>
    <a:firstCol>
      <a:tcTxStyle b="on" i="off">
        <a:font>
          <a:latin typeface="Helvetica Neue Bold Condensed"/>
          <a:ea typeface="Helvetica Neue Bold Condensed"/>
          <a:cs typeface="Helvetica Neue Bold Condensed"/>
        </a:font>
        <a:srgbClr val="2D2D2D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86B5C3">
                  <a:alpha val="75000"/>
                </a:srgbClr>
              </a:solidFill>
              <a:prstDash val="solid"/>
              <a:miter lim="400000"/>
            </a:ln>
          </a:top>
          <a:bottom>
            <a:ln w="12700" cap="flat">
              <a:solidFill>
                <a:srgbClr val="86B5C3">
                  <a:alpha val="75000"/>
                </a:srgbClr>
              </a:solidFill>
              <a:prstDash val="solid"/>
              <a:miter lim="400000"/>
            </a:ln>
          </a:bottom>
          <a:insideH>
            <a:ln w="12700" cap="flat">
              <a:solidFill>
                <a:srgbClr val="86B5C3">
                  <a:alpha val="75000"/>
                </a:srgbClr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86B5C3">
                  <a:alpha val="75000"/>
                </a:srgbClr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86B5C3">
                  <a:alpha val="75000"/>
                </a:srgbClr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noFill/>
        </a:fill>
      </a:tcStyle>
    </a:firstRow>
  </a:tblStyle>
  <a:tblStyle styleId="{33BA23B1-9221-436E-865A-0063620EA4FD}" styleName="">
    <a:tblBg/>
    <a:wholeTbl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solidFill>
                <a:srgbClr val="9F9F9F"/>
              </a:solidFill>
              <a:prstDash val="solid"/>
              <a:miter lim="400000"/>
            </a:ln>
          </a:left>
          <a:right>
            <a:ln w="12700" cap="flat">
              <a:solidFill>
                <a:srgbClr val="9F9F9F"/>
              </a:solidFill>
              <a:prstDash val="solid"/>
              <a:miter lim="400000"/>
            </a:ln>
          </a:right>
          <a:top>
            <a:ln w="12700" cap="flat">
              <a:solidFill>
                <a:srgbClr val="9F9F9F"/>
              </a:solidFill>
              <a:prstDash val="solid"/>
              <a:miter lim="400000"/>
            </a:ln>
          </a:top>
          <a:bottom>
            <a:ln w="12700" cap="flat">
              <a:solidFill>
                <a:srgbClr val="9F9F9F"/>
              </a:solidFill>
              <a:prstDash val="solid"/>
              <a:miter lim="400000"/>
            </a:ln>
          </a:bottom>
          <a:insideH>
            <a:ln w="12700" cap="flat">
              <a:solidFill>
                <a:srgbClr val="9F9F9F"/>
              </a:solidFill>
              <a:prstDash val="solid"/>
              <a:miter lim="400000"/>
            </a:ln>
          </a:insideH>
          <a:insideV>
            <a:ln w="12700" cap="flat">
              <a:solidFill>
                <a:srgbClr val="9F9F9F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797979">
              <a:alpha val="38000"/>
            </a:srgbClr>
          </a:solidFill>
        </a:fill>
      </a:tcStyle>
    </a:band2H>
    <a:firstCol>
      <a:tcTxStyle b="on" i="off">
        <a:font>
          <a:latin typeface="Helvetica Neue Bold Condensed"/>
          <a:ea typeface="Helvetica Neue Bold Condensed"/>
          <a:cs typeface="Helvetica Neue Bold Condensed"/>
        </a:font>
        <a:srgbClr val="2D2D2D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BABABA"/>
          </a:solidFill>
        </a:fill>
      </a:tcStyle>
    </a:firstCol>
    <a:la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525A5D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8B8B8B"/>
          </a:solidFill>
        </a:fill>
      </a:tcStyle>
    </a:lastRow>
    <a:fir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525A5D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8B8B8B"/>
          </a:solidFill>
        </a:fill>
      </a:tcStyle>
    </a:firstRow>
  </a:tblStyle>
  <a:tblStyle styleId="{2708684C-4D16-4618-839F-0558EEFCDFE6}" styleName="">
    <a:tblBg/>
    <a:wholeTbl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797979">
              <a:alpha val="25000"/>
            </a:srgbClr>
          </a:solidFill>
        </a:fill>
      </a:tcStyle>
    </a:band2H>
    <a:firstCol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254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right>
          <a:top>
            <a:ln w="254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254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55" d="100"/>
          <a:sy n="55" d="100"/>
        </p:scale>
        <p:origin x="636" y="78"/>
      </p:cViewPr>
      <p:guideLst>
        <p:guide orient="horz" pos="4320"/>
        <p:guide pos="76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Shape 140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41" name="Shape 141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89516538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1pPr>
    <a:lvl2pPr indent="228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2pPr>
    <a:lvl3pPr indent="457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3pPr>
    <a:lvl4pPr indent="685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4pPr>
    <a:lvl5pPr indent="9144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5pPr>
    <a:lvl6pPr indent="11430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6pPr>
    <a:lvl7pPr indent="1371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7pPr>
    <a:lvl8pPr indent="1600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8pPr>
    <a:lvl9pPr indent="1828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&amp; Subtitl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Text"/>
          <p:cNvSpPr txBox="1">
            <a:spLocks noGrp="1"/>
          </p:cNvSpPr>
          <p:nvPr>
            <p:ph type="title"/>
          </p:nvPr>
        </p:nvSpPr>
        <p:spPr>
          <a:xfrm>
            <a:off x="2374900" y="2730500"/>
            <a:ext cx="19621500" cy="4216400"/>
          </a:xfrm>
          <a:prstGeom prst="rect">
            <a:avLst/>
          </a:prstGeom>
        </p:spPr>
        <p:txBody>
          <a:bodyPr anchor="b"/>
          <a:lstStyle>
            <a:lvl1pPr>
              <a:defRPr sz="9000" spc="-180"/>
            </a:lvl1pPr>
          </a:lstStyle>
          <a:p>
            <a:r>
              <a:t>Title Text</a:t>
            </a:r>
          </a:p>
        </p:txBody>
      </p:sp>
      <p:sp>
        <p:nvSpPr>
          <p:cNvPr id="1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374900" y="7073900"/>
            <a:ext cx="19621500" cy="30734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1pPr>
            <a:lvl2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2pPr>
            <a:lvl3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3pPr>
            <a:lvl4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4pPr>
            <a:lvl5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51685" y="12708534"/>
            <a:ext cx="504445" cy="465532"/>
          </a:xfrm>
          <a:prstGeom prst="rect">
            <a:avLst/>
          </a:prstGeom>
        </p:spPr>
        <p:txBody>
          <a:bodyPr anchor="ctr"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–Johnny Appleseed"/>
          <p:cNvSpPr txBox="1">
            <a:spLocks noGrp="1"/>
          </p:cNvSpPr>
          <p:nvPr>
            <p:ph type="body" sz="quarter" idx="21"/>
          </p:nvPr>
        </p:nvSpPr>
        <p:spPr>
          <a:xfrm>
            <a:off x="2387600" y="8953500"/>
            <a:ext cx="19621500" cy="850900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spcBef>
                <a:spcPts val="1700"/>
              </a:spcBef>
              <a:buClr>
                <a:srgbClr val="A29A85"/>
              </a:buClr>
              <a:buSzTx/>
              <a:buNone/>
              <a:defRPr sz="5000">
                <a:solidFill>
                  <a:srgbClr val="222222"/>
                </a:solidFill>
              </a:defRPr>
            </a:lvl1pPr>
          </a:lstStyle>
          <a:p>
            <a:r>
              <a:t>–Johnny Appleseed</a:t>
            </a:r>
          </a:p>
        </p:txBody>
      </p:sp>
      <p:sp>
        <p:nvSpPr>
          <p:cNvPr id="104" name="“Type a quote here.”"/>
          <p:cNvSpPr txBox="1">
            <a:spLocks noGrp="1"/>
          </p:cNvSpPr>
          <p:nvPr>
            <p:ph type="body" sz="quarter" idx="22"/>
          </p:nvPr>
        </p:nvSpPr>
        <p:spPr>
          <a:xfrm>
            <a:off x="2387600" y="5994400"/>
            <a:ext cx="19621500" cy="990600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lnSpc>
                <a:spcPct val="120000"/>
              </a:lnSpc>
              <a:buSzTx/>
              <a:buNone/>
              <a:defRPr sz="5800" b="1" spc="-174">
                <a:latin typeface="+mn-lt"/>
                <a:ea typeface="+mn-ea"/>
                <a:cs typeface="+mn-cs"/>
                <a:sym typeface="Superclarendon Regular"/>
              </a:defRPr>
            </a:lvl1pPr>
          </a:lstStyle>
          <a:p>
            <a:r>
              <a:t>“Type a quote here.” </a:t>
            </a:r>
          </a:p>
        </p:txBody>
      </p:sp>
      <p:sp>
        <p:nvSpPr>
          <p:cNvPr id="10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530506816_2881x1921.jpg"/>
          <p:cNvSpPr>
            <a:spLocks noGrp="1"/>
          </p:cNvSpPr>
          <p:nvPr>
            <p:ph type="pic" idx="21"/>
          </p:nvPr>
        </p:nvSpPr>
        <p:spPr>
          <a:xfrm>
            <a:off x="0" y="-1524000"/>
            <a:ext cx="24390354" cy="16263057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11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 - Alt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 - Alt 2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Horizontal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Line Line" descr="Line Line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899589" y="11524798"/>
            <a:ext cx="6438417" cy="89804"/>
          </a:xfrm>
          <a:prstGeom prst="rect">
            <a:avLst/>
          </a:prstGeom>
        </p:spPr>
      </p:pic>
      <p:sp>
        <p:nvSpPr>
          <p:cNvPr id="22" name="530506816_2881x1921.jpg"/>
          <p:cNvSpPr>
            <a:spLocks noGrp="1"/>
          </p:cNvSpPr>
          <p:nvPr>
            <p:ph type="pic" idx="21"/>
          </p:nvPr>
        </p:nvSpPr>
        <p:spPr>
          <a:xfrm>
            <a:off x="609600" y="-2747120"/>
            <a:ext cx="23164800" cy="15445881"/>
          </a:xfrm>
          <a:prstGeom prst="rect">
            <a:avLst/>
          </a:prstGeom>
          <a:ln w="9525">
            <a:round/>
          </a:ln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23" name="Title Text"/>
          <p:cNvSpPr txBox="1">
            <a:spLocks noGrp="1"/>
          </p:cNvSpPr>
          <p:nvPr>
            <p:ph type="title"/>
          </p:nvPr>
        </p:nvSpPr>
        <p:spPr>
          <a:xfrm>
            <a:off x="1181100" y="9626600"/>
            <a:ext cx="22009100" cy="1714500"/>
          </a:xfrm>
          <a:prstGeom prst="rect">
            <a:avLst/>
          </a:prstGeom>
        </p:spPr>
        <p:txBody>
          <a:bodyPr anchor="b"/>
          <a:lstStyle>
            <a:lvl1pPr>
              <a:defRPr sz="9000" spc="-180"/>
            </a:lvl1pPr>
          </a:lstStyle>
          <a:p>
            <a:r>
              <a:t>Title Text</a:t>
            </a:r>
          </a:p>
        </p:txBody>
      </p:sp>
      <p:sp>
        <p:nvSpPr>
          <p:cNvPr id="24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181100" y="11696700"/>
            <a:ext cx="22009100" cy="12319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1pPr>
            <a:lvl2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2pPr>
            <a:lvl3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3pPr>
            <a:lvl4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4pPr>
            <a:lvl5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Center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le Text"/>
          <p:cNvSpPr txBox="1">
            <a:spLocks noGrp="1"/>
          </p:cNvSpPr>
          <p:nvPr>
            <p:ph type="title"/>
          </p:nvPr>
        </p:nvSpPr>
        <p:spPr>
          <a:xfrm>
            <a:off x="2374900" y="4940300"/>
            <a:ext cx="19621500" cy="3835400"/>
          </a:xfrm>
          <a:prstGeom prst="rect">
            <a:avLst/>
          </a:prstGeom>
        </p:spPr>
        <p:txBody>
          <a:bodyPr/>
          <a:lstStyle>
            <a:lvl1pPr>
              <a:defRPr sz="9000" spc="-180"/>
            </a:lvl1pPr>
          </a:lstStyle>
          <a:p>
            <a:r>
              <a:t>Title Text</a:t>
            </a:r>
          </a:p>
        </p:txBody>
      </p:sp>
      <p:sp>
        <p:nvSpPr>
          <p:cNvPr id="3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Vertical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Line Line" descr="Line Line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2433788" y="7155998"/>
            <a:ext cx="8416268" cy="89804"/>
          </a:xfrm>
          <a:prstGeom prst="rect">
            <a:avLst/>
          </a:prstGeom>
        </p:spPr>
      </p:pic>
      <p:sp>
        <p:nvSpPr>
          <p:cNvPr id="42" name="Image"/>
          <p:cNvSpPr>
            <a:spLocks noGrp="1"/>
          </p:cNvSpPr>
          <p:nvPr>
            <p:ph type="pic" idx="21"/>
          </p:nvPr>
        </p:nvSpPr>
        <p:spPr>
          <a:xfrm>
            <a:off x="12230100" y="-990600"/>
            <a:ext cx="11303000" cy="16594026"/>
          </a:xfrm>
          <a:prstGeom prst="rect">
            <a:avLst/>
          </a:prstGeom>
          <a:ln w="9525">
            <a:round/>
          </a:ln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43" name="Title Text"/>
          <p:cNvSpPr txBox="1">
            <a:spLocks noGrp="1"/>
          </p:cNvSpPr>
          <p:nvPr>
            <p:ph type="title"/>
          </p:nvPr>
        </p:nvSpPr>
        <p:spPr>
          <a:xfrm>
            <a:off x="1435100" y="1092200"/>
            <a:ext cx="10464800" cy="5765800"/>
          </a:xfrm>
          <a:prstGeom prst="rect">
            <a:avLst/>
          </a:prstGeom>
        </p:spPr>
        <p:txBody>
          <a:bodyPr anchor="b"/>
          <a:lstStyle/>
          <a:p>
            <a:r>
              <a:t>Title Text</a:t>
            </a:r>
          </a:p>
        </p:txBody>
      </p:sp>
      <p:sp>
        <p:nvSpPr>
          <p:cNvPr id="44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435100" y="7556500"/>
            <a:ext cx="10464800" cy="50927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1pPr>
            <a:lvl2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2pPr>
            <a:lvl3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3pPr>
            <a:lvl4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4pPr>
            <a:lvl5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Line Line" descr="Line Line"/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2010107" y="3853998"/>
            <a:ext cx="20407882" cy="89804"/>
          </a:xfrm>
          <a:prstGeom prst="rect">
            <a:avLst/>
          </a:prstGeom>
        </p:spPr>
      </p:pic>
      <p:sp>
        <p:nvSpPr>
          <p:cNvPr id="54" name="Title Text"/>
          <p:cNvSpPr txBox="1">
            <a:spLocks noGrp="1"/>
          </p:cNvSpPr>
          <p:nvPr>
            <p:ph type="title"/>
          </p:nvPr>
        </p:nvSpPr>
        <p:spPr>
          <a:xfrm>
            <a:off x="2374900" y="977900"/>
            <a:ext cx="19621500" cy="2679700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5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Line Line" descr="Line Line"/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2010107" y="3853998"/>
            <a:ext cx="20407882" cy="89804"/>
          </a:xfrm>
          <a:prstGeom prst="rect">
            <a:avLst/>
          </a:prstGeom>
        </p:spPr>
      </p:pic>
      <p:sp>
        <p:nvSpPr>
          <p:cNvPr id="64" name="Title Text"/>
          <p:cNvSpPr txBox="1">
            <a:spLocks noGrp="1"/>
          </p:cNvSpPr>
          <p:nvPr>
            <p:ph type="title"/>
          </p:nvPr>
        </p:nvSpPr>
        <p:spPr>
          <a:xfrm>
            <a:off x="2374900" y="977900"/>
            <a:ext cx="19621500" cy="2679700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65" name="Body Level One…"/>
          <p:cNvSpPr txBox="1">
            <a:spLocks noGrp="1"/>
          </p:cNvSpPr>
          <p:nvPr>
            <p:ph type="body" idx="1"/>
          </p:nvPr>
        </p:nvSpPr>
        <p:spPr>
          <a:xfrm>
            <a:off x="2374900" y="4584700"/>
            <a:ext cx="19621500" cy="8039100"/>
          </a:xfrm>
          <a:prstGeom prst="rect">
            <a:avLst/>
          </a:prstGeom>
        </p:spPr>
        <p:txBody>
          <a:bodyPr/>
          <a:lstStyle>
            <a:lvl1pPr>
              <a:buBlip>
                <a:blip r:embed="rId3"/>
              </a:buBlip>
            </a:lvl1pPr>
            <a:lvl2pPr>
              <a:buBlip>
                <a:blip r:embed="rId3"/>
              </a:buBlip>
            </a:lvl2pPr>
            <a:lvl3pPr>
              <a:buBlip>
                <a:blip r:embed="rId3"/>
              </a:buBlip>
            </a:lvl3pPr>
            <a:lvl4pPr>
              <a:buBlip>
                <a:blip r:embed="rId3"/>
              </a:buBlip>
            </a:lvl4pPr>
            <a:lvl5pPr>
              <a:buBlip>
                <a:blip r:embed="rId3"/>
              </a:buBlip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, Bullets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" name="Line Line" descr="Line Line"/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2010107" y="3853998"/>
            <a:ext cx="20407882" cy="89804"/>
          </a:xfrm>
          <a:prstGeom prst="rect">
            <a:avLst/>
          </a:prstGeom>
        </p:spPr>
      </p:pic>
      <p:sp>
        <p:nvSpPr>
          <p:cNvPr id="75" name="Image"/>
          <p:cNvSpPr>
            <a:spLocks noGrp="1"/>
          </p:cNvSpPr>
          <p:nvPr>
            <p:ph type="pic" idx="21"/>
          </p:nvPr>
        </p:nvSpPr>
        <p:spPr>
          <a:xfrm>
            <a:off x="2388450" y="965200"/>
            <a:ext cx="9968392" cy="14634676"/>
          </a:xfrm>
          <a:prstGeom prst="rect">
            <a:avLst/>
          </a:prstGeom>
          <a:ln w="9525">
            <a:round/>
          </a:ln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76" name="Title Text"/>
          <p:cNvSpPr txBox="1">
            <a:spLocks noGrp="1"/>
          </p:cNvSpPr>
          <p:nvPr>
            <p:ph type="title"/>
          </p:nvPr>
        </p:nvSpPr>
        <p:spPr>
          <a:xfrm>
            <a:off x="2374900" y="977900"/>
            <a:ext cx="19621500" cy="2679700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77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13500100" y="4699000"/>
            <a:ext cx="9055100" cy="7569200"/>
          </a:xfrm>
          <a:prstGeom prst="rect">
            <a:avLst/>
          </a:prstGeom>
        </p:spPr>
        <p:txBody>
          <a:bodyPr/>
          <a:lstStyle>
            <a:lvl1pPr marL="635000" indent="-635000">
              <a:spcBef>
                <a:spcPts val="4200"/>
              </a:spcBef>
              <a:buBlip>
                <a:blip r:embed="rId3"/>
              </a:buBlip>
              <a:defRPr sz="3600"/>
            </a:lvl1pPr>
            <a:lvl2pPr marL="1270000" indent="-635000">
              <a:spcBef>
                <a:spcPts val="4200"/>
              </a:spcBef>
              <a:buBlip>
                <a:blip r:embed="rId3"/>
              </a:buBlip>
              <a:defRPr sz="3600"/>
            </a:lvl2pPr>
            <a:lvl3pPr marL="1905000" indent="-635000">
              <a:spcBef>
                <a:spcPts val="4200"/>
              </a:spcBef>
              <a:buBlip>
                <a:blip r:embed="rId3"/>
              </a:buBlip>
              <a:defRPr sz="3600"/>
            </a:lvl3pPr>
            <a:lvl4pPr marL="2540000" indent="-635000">
              <a:spcBef>
                <a:spcPts val="4200"/>
              </a:spcBef>
              <a:buBlip>
                <a:blip r:embed="rId3"/>
              </a:buBlip>
              <a:defRPr sz="3600"/>
            </a:lvl4pPr>
            <a:lvl5pPr marL="3175000" indent="-635000">
              <a:spcBef>
                <a:spcPts val="4200"/>
              </a:spcBef>
              <a:buBlip>
                <a:blip r:embed="rId3"/>
              </a:buBlip>
              <a:defRPr sz="36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Body Level On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1pPr>
              <a:buBlip>
                <a:blip r:embed="rId2"/>
              </a:buBlip>
            </a:lvl1pPr>
            <a:lvl2pPr>
              <a:buBlip>
                <a:blip r:embed="rId2"/>
              </a:buBlip>
            </a:lvl2pPr>
            <a:lvl3pPr>
              <a:buBlip>
                <a:blip r:embed="rId2"/>
              </a:buBlip>
            </a:lvl3pPr>
            <a:lvl4pPr>
              <a:buBlip>
                <a:blip r:embed="rId2"/>
              </a:buBlip>
            </a:lvl4pPr>
            <a:lvl5pPr>
              <a:buBlip>
                <a:blip r:embed="rId2"/>
              </a:buBlip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8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Image"/>
          <p:cNvSpPr>
            <a:spLocks noGrp="1"/>
          </p:cNvSpPr>
          <p:nvPr>
            <p:ph type="pic" sz="half" idx="21"/>
          </p:nvPr>
        </p:nvSpPr>
        <p:spPr>
          <a:xfrm>
            <a:off x="11442700" y="6108700"/>
            <a:ext cx="11978045" cy="8089398"/>
          </a:xfrm>
          <a:prstGeom prst="rect">
            <a:avLst/>
          </a:prstGeom>
          <a:ln w="9525">
            <a:round/>
          </a:ln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94" name="530506816_2881x1921.jpg"/>
          <p:cNvSpPr>
            <a:spLocks noGrp="1"/>
          </p:cNvSpPr>
          <p:nvPr>
            <p:ph type="pic" sz="half" idx="22"/>
          </p:nvPr>
        </p:nvSpPr>
        <p:spPr>
          <a:xfrm>
            <a:off x="12509500" y="215278"/>
            <a:ext cx="10744200" cy="7164044"/>
          </a:xfrm>
          <a:prstGeom prst="rect">
            <a:avLst/>
          </a:prstGeom>
          <a:ln w="9525">
            <a:round/>
          </a:ln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95" name="Image"/>
          <p:cNvSpPr>
            <a:spLocks noGrp="1"/>
          </p:cNvSpPr>
          <p:nvPr>
            <p:ph type="pic" idx="23"/>
          </p:nvPr>
        </p:nvSpPr>
        <p:spPr>
          <a:xfrm>
            <a:off x="1066800" y="-1079500"/>
            <a:ext cx="10858500" cy="15941454"/>
          </a:xfrm>
          <a:prstGeom prst="rect">
            <a:avLst/>
          </a:prstGeom>
          <a:ln w="9525">
            <a:round/>
          </a:ln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9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18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אובייקט 4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442057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ody Level One…"/>
          <p:cNvSpPr txBox="1">
            <a:spLocks noGrp="1"/>
          </p:cNvSpPr>
          <p:nvPr>
            <p:ph type="body" idx="1"/>
          </p:nvPr>
        </p:nvSpPr>
        <p:spPr>
          <a:xfrm>
            <a:off x="2374900" y="1778000"/>
            <a:ext cx="19621500" cy="101473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ctr">
            <a:normAutofit/>
          </a:bodyPr>
          <a:lstStyle>
            <a:lvl1pPr>
              <a:buBlip>
                <a:blip r:embed="rId21"/>
              </a:buBlip>
            </a:lvl1pPr>
            <a:lvl2pPr>
              <a:buBlip>
                <a:blip r:embed="rId21"/>
              </a:buBlip>
            </a:lvl2pPr>
            <a:lvl3pPr>
              <a:buBlip>
                <a:blip r:embed="rId21"/>
              </a:buBlip>
            </a:lvl3pPr>
            <a:lvl4pPr>
              <a:buBlip>
                <a:blip r:embed="rId21"/>
              </a:buBlip>
            </a:lvl4pPr>
            <a:lvl5pPr>
              <a:buBlip>
                <a:blip r:embed="rId21"/>
              </a:buBlip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" name="Title Text"/>
          <p:cNvSpPr txBox="1">
            <a:spLocks noGrp="1"/>
          </p:cNvSpPr>
          <p:nvPr>
            <p:ph type="title"/>
          </p:nvPr>
        </p:nvSpPr>
        <p:spPr>
          <a:xfrm>
            <a:off x="2387600" y="977900"/>
            <a:ext cx="19621500" cy="26797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Title Text</a:t>
            </a:r>
          </a:p>
        </p:txBody>
      </p:sp>
      <p:sp>
        <p:nvSpPr>
          <p:cNvPr id="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27872" y="12674600"/>
            <a:ext cx="504445" cy="465532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2400" b="1">
                <a:solidFill>
                  <a:srgbClr val="F1F1F1"/>
                </a:solidFill>
                <a:latin typeface="+mn-lt"/>
                <a:ea typeface="+mn-ea"/>
                <a:cs typeface="+mn-cs"/>
                <a:sym typeface="Superclarendon Regular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ransition spd="med"/>
  <p:txStyles>
    <p:titleStyle>
      <a:lvl1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600" b="1" i="0" u="none" strike="noStrike" cap="none" spc="-197" baseline="0">
          <a:solidFill>
            <a:srgbClr val="EEEEEE"/>
          </a:solidFill>
          <a:uFillTx/>
          <a:latin typeface="+mn-lt"/>
          <a:ea typeface="+mn-ea"/>
          <a:cs typeface="+mn-cs"/>
          <a:sym typeface="Superclarendon Regular"/>
        </a:defRPr>
      </a:lvl1pPr>
      <a:lvl2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600" b="1" i="0" u="none" strike="noStrike" cap="none" spc="-197" baseline="0">
          <a:solidFill>
            <a:srgbClr val="EEEEEE"/>
          </a:solidFill>
          <a:uFillTx/>
          <a:latin typeface="+mn-lt"/>
          <a:ea typeface="+mn-ea"/>
          <a:cs typeface="+mn-cs"/>
          <a:sym typeface="Superclarendon Regular"/>
        </a:defRPr>
      </a:lvl2pPr>
      <a:lvl3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600" b="1" i="0" u="none" strike="noStrike" cap="none" spc="-197" baseline="0">
          <a:solidFill>
            <a:srgbClr val="EEEEEE"/>
          </a:solidFill>
          <a:uFillTx/>
          <a:latin typeface="+mn-lt"/>
          <a:ea typeface="+mn-ea"/>
          <a:cs typeface="+mn-cs"/>
          <a:sym typeface="Superclarendon Regular"/>
        </a:defRPr>
      </a:lvl3pPr>
      <a:lvl4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600" b="1" i="0" u="none" strike="noStrike" cap="none" spc="-197" baseline="0">
          <a:solidFill>
            <a:srgbClr val="EEEEEE"/>
          </a:solidFill>
          <a:uFillTx/>
          <a:latin typeface="+mn-lt"/>
          <a:ea typeface="+mn-ea"/>
          <a:cs typeface="+mn-cs"/>
          <a:sym typeface="Superclarendon Regular"/>
        </a:defRPr>
      </a:lvl4pPr>
      <a:lvl5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600" b="1" i="0" u="none" strike="noStrike" cap="none" spc="-197" baseline="0">
          <a:solidFill>
            <a:srgbClr val="EEEEEE"/>
          </a:solidFill>
          <a:uFillTx/>
          <a:latin typeface="+mn-lt"/>
          <a:ea typeface="+mn-ea"/>
          <a:cs typeface="+mn-cs"/>
          <a:sym typeface="Superclarendon Regular"/>
        </a:defRPr>
      </a:lvl5pPr>
      <a:lvl6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600" b="1" i="0" u="none" strike="noStrike" cap="none" spc="-197" baseline="0">
          <a:solidFill>
            <a:srgbClr val="EEEEEE"/>
          </a:solidFill>
          <a:uFillTx/>
          <a:latin typeface="+mn-lt"/>
          <a:ea typeface="+mn-ea"/>
          <a:cs typeface="+mn-cs"/>
          <a:sym typeface="Superclarendon Regular"/>
        </a:defRPr>
      </a:lvl6pPr>
      <a:lvl7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600" b="1" i="0" u="none" strike="noStrike" cap="none" spc="-197" baseline="0">
          <a:solidFill>
            <a:srgbClr val="EEEEEE"/>
          </a:solidFill>
          <a:uFillTx/>
          <a:latin typeface="+mn-lt"/>
          <a:ea typeface="+mn-ea"/>
          <a:cs typeface="+mn-cs"/>
          <a:sym typeface="Superclarendon Regular"/>
        </a:defRPr>
      </a:lvl7pPr>
      <a:lvl8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600" b="1" i="0" u="none" strike="noStrike" cap="none" spc="-197" baseline="0">
          <a:solidFill>
            <a:srgbClr val="EEEEEE"/>
          </a:solidFill>
          <a:uFillTx/>
          <a:latin typeface="+mn-lt"/>
          <a:ea typeface="+mn-ea"/>
          <a:cs typeface="+mn-cs"/>
          <a:sym typeface="Superclarendon Regular"/>
        </a:defRPr>
      </a:lvl8pPr>
      <a:lvl9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600" b="1" i="0" u="none" strike="noStrike" cap="none" spc="-197" baseline="0">
          <a:solidFill>
            <a:srgbClr val="EEEEEE"/>
          </a:solidFill>
          <a:uFillTx/>
          <a:latin typeface="+mn-lt"/>
          <a:ea typeface="+mn-ea"/>
          <a:cs typeface="+mn-cs"/>
          <a:sym typeface="Superclarendon Regular"/>
        </a:defRPr>
      </a:lvl9pPr>
    </p:titleStyle>
    <p:bodyStyle>
      <a:lvl1pPr marL="812800" marR="0" indent="-8128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65000"/>
        <a:buFontTx/>
        <a:buBlip>
          <a:blip r:embed="rId21"/>
        </a:buBlip>
        <a:tabLst/>
        <a:defRPr sz="4600" b="0" i="0" u="none" strike="noStrike" cap="none" spc="0" baseline="0">
          <a:solidFill>
            <a:srgbClr val="EEEEEE"/>
          </a:solidFill>
          <a:uFillTx/>
          <a:latin typeface="Helvetica Neue Bold Condensed"/>
          <a:ea typeface="Helvetica Neue Bold Condensed"/>
          <a:cs typeface="Helvetica Neue Bold Condensed"/>
          <a:sym typeface="Helvetica Neue Bold Condensed"/>
        </a:defRPr>
      </a:lvl1pPr>
      <a:lvl2pPr marL="1625600" marR="0" indent="-8128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65000"/>
        <a:buFontTx/>
        <a:buBlip>
          <a:blip r:embed="rId21"/>
        </a:buBlip>
        <a:tabLst/>
        <a:defRPr sz="4600" b="0" i="0" u="none" strike="noStrike" cap="none" spc="0" baseline="0">
          <a:solidFill>
            <a:srgbClr val="EEEEEE"/>
          </a:solidFill>
          <a:uFillTx/>
          <a:latin typeface="Helvetica Neue Bold Condensed"/>
          <a:ea typeface="Helvetica Neue Bold Condensed"/>
          <a:cs typeface="Helvetica Neue Bold Condensed"/>
          <a:sym typeface="Helvetica Neue Bold Condensed"/>
        </a:defRPr>
      </a:lvl2pPr>
      <a:lvl3pPr marL="2438400" marR="0" indent="-8128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65000"/>
        <a:buFontTx/>
        <a:buBlip>
          <a:blip r:embed="rId21"/>
        </a:buBlip>
        <a:tabLst/>
        <a:defRPr sz="4600" b="0" i="0" u="none" strike="noStrike" cap="none" spc="0" baseline="0">
          <a:solidFill>
            <a:srgbClr val="EEEEEE"/>
          </a:solidFill>
          <a:uFillTx/>
          <a:latin typeface="Helvetica Neue Bold Condensed"/>
          <a:ea typeface="Helvetica Neue Bold Condensed"/>
          <a:cs typeface="Helvetica Neue Bold Condensed"/>
          <a:sym typeface="Helvetica Neue Bold Condensed"/>
        </a:defRPr>
      </a:lvl3pPr>
      <a:lvl4pPr marL="3251200" marR="0" indent="-8128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65000"/>
        <a:buFontTx/>
        <a:buBlip>
          <a:blip r:embed="rId21"/>
        </a:buBlip>
        <a:tabLst/>
        <a:defRPr sz="4600" b="0" i="0" u="none" strike="noStrike" cap="none" spc="0" baseline="0">
          <a:solidFill>
            <a:srgbClr val="EEEEEE"/>
          </a:solidFill>
          <a:uFillTx/>
          <a:latin typeface="Helvetica Neue Bold Condensed"/>
          <a:ea typeface="Helvetica Neue Bold Condensed"/>
          <a:cs typeface="Helvetica Neue Bold Condensed"/>
          <a:sym typeface="Helvetica Neue Bold Condensed"/>
        </a:defRPr>
      </a:lvl4pPr>
      <a:lvl5pPr marL="4064000" marR="0" indent="-8128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65000"/>
        <a:buFontTx/>
        <a:buBlip>
          <a:blip r:embed="rId21"/>
        </a:buBlip>
        <a:tabLst/>
        <a:defRPr sz="4600" b="0" i="0" u="none" strike="noStrike" cap="none" spc="0" baseline="0">
          <a:solidFill>
            <a:srgbClr val="EEEEEE"/>
          </a:solidFill>
          <a:uFillTx/>
          <a:latin typeface="Helvetica Neue Bold Condensed"/>
          <a:ea typeface="Helvetica Neue Bold Condensed"/>
          <a:cs typeface="Helvetica Neue Bold Condensed"/>
          <a:sym typeface="Helvetica Neue Bold Condensed"/>
        </a:defRPr>
      </a:lvl5pPr>
      <a:lvl6pPr marL="4876800" marR="0" indent="-8128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65000"/>
        <a:buFontTx/>
        <a:buBlip>
          <a:blip r:embed="rId21"/>
        </a:buBlip>
        <a:tabLst/>
        <a:defRPr sz="4600" b="0" i="0" u="none" strike="noStrike" cap="none" spc="0" baseline="0">
          <a:solidFill>
            <a:srgbClr val="EEEEEE"/>
          </a:solidFill>
          <a:uFillTx/>
          <a:latin typeface="Helvetica Neue Bold Condensed"/>
          <a:ea typeface="Helvetica Neue Bold Condensed"/>
          <a:cs typeface="Helvetica Neue Bold Condensed"/>
          <a:sym typeface="Helvetica Neue Bold Condensed"/>
        </a:defRPr>
      </a:lvl6pPr>
      <a:lvl7pPr marL="5689600" marR="0" indent="-8128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65000"/>
        <a:buFontTx/>
        <a:buBlip>
          <a:blip r:embed="rId21"/>
        </a:buBlip>
        <a:tabLst/>
        <a:defRPr sz="4600" b="0" i="0" u="none" strike="noStrike" cap="none" spc="0" baseline="0">
          <a:solidFill>
            <a:srgbClr val="EEEEEE"/>
          </a:solidFill>
          <a:uFillTx/>
          <a:latin typeface="Helvetica Neue Bold Condensed"/>
          <a:ea typeface="Helvetica Neue Bold Condensed"/>
          <a:cs typeface="Helvetica Neue Bold Condensed"/>
          <a:sym typeface="Helvetica Neue Bold Condensed"/>
        </a:defRPr>
      </a:lvl7pPr>
      <a:lvl8pPr marL="6502400" marR="0" indent="-8128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65000"/>
        <a:buFontTx/>
        <a:buBlip>
          <a:blip r:embed="rId21"/>
        </a:buBlip>
        <a:tabLst/>
        <a:defRPr sz="4600" b="0" i="0" u="none" strike="noStrike" cap="none" spc="0" baseline="0">
          <a:solidFill>
            <a:srgbClr val="EEEEEE"/>
          </a:solidFill>
          <a:uFillTx/>
          <a:latin typeface="Helvetica Neue Bold Condensed"/>
          <a:ea typeface="Helvetica Neue Bold Condensed"/>
          <a:cs typeface="Helvetica Neue Bold Condensed"/>
          <a:sym typeface="Helvetica Neue Bold Condensed"/>
        </a:defRPr>
      </a:lvl8pPr>
      <a:lvl9pPr marL="7315200" marR="0" indent="-8128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65000"/>
        <a:buFontTx/>
        <a:buBlip>
          <a:blip r:embed="rId21"/>
        </a:buBlip>
        <a:tabLst/>
        <a:defRPr sz="4600" b="0" i="0" u="none" strike="noStrike" cap="none" spc="0" baseline="0">
          <a:solidFill>
            <a:srgbClr val="EEEEEE"/>
          </a:solidFill>
          <a:uFillTx/>
          <a:latin typeface="Helvetica Neue Bold Condensed"/>
          <a:ea typeface="Helvetica Neue Bold Condensed"/>
          <a:cs typeface="Helvetica Neue Bold Condensed"/>
          <a:sym typeface="Helvetica Neue Bold Condensed"/>
        </a:defRPr>
      </a:lvl9pPr>
    </p:bodyStyle>
    <p:otherStyle>
      <a:lvl1pPr marL="0" marR="0" indent="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uperclarendon Regular"/>
        </a:defRPr>
      </a:lvl1pPr>
      <a:lvl2pPr marL="0" marR="0" indent="2286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uperclarendon Regular"/>
        </a:defRPr>
      </a:lvl2pPr>
      <a:lvl3pPr marL="0" marR="0" indent="4572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uperclarendon Regular"/>
        </a:defRPr>
      </a:lvl3pPr>
      <a:lvl4pPr marL="0" marR="0" indent="6858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uperclarendon Regular"/>
        </a:defRPr>
      </a:lvl4pPr>
      <a:lvl5pPr marL="0" marR="0" indent="9144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uperclarendon Regular"/>
        </a:defRPr>
      </a:lvl5pPr>
      <a:lvl6pPr marL="0" marR="0" indent="11430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uperclarendon Regular"/>
        </a:defRPr>
      </a:lvl6pPr>
      <a:lvl7pPr marL="0" marR="0" indent="13716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uperclarendon Regular"/>
        </a:defRPr>
      </a:lvl7pPr>
      <a:lvl8pPr marL="0" marR="0" indent="16002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uperclarendon Regular"/>
        </a:defRPr>
      </a:lvl8pPr>
      <a:lvl9pPr marL="0" marR="0" indent="18288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uperclarendon Regular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0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1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6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18.png"/><Relationship Id="rId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Shufersal…"/>
          <p:cNvSpPr txBox="1">
            <a:spLocks noGrp="1"/>
          </p:cNvSpPr>
          <p:nvPr>
            <p:ph type="ctrTitle"/>
          </p:nvPr>
        </p:nvSpPr>
        <p:spPr>
          <a:xfrm>
            <a:off x="2381250" y="2493532"/>
            <a:ext cx="19621501" cy="7756272"/>
          </a:xfrm>
          <a:prstGeom prst="rect">
            <a:avLst/>
          </a:prstGeom>
        </p:spPr>
        <p:txBody>
          <a:bodyPr/>
          <a:lstStyle/>
          <a:p>
            <a:pPr>
              <a:defRPr sz="9300" spc="-186"/>
            </a:pPr>
            <a:r>
              <a:t>Shufersal </a:t>
            </a:r>
          </a:p>
          <a:p>
            <a:pPr>
              <a:defRPr sz="9300" spc="-186"/>
            </a:pPr>
            <a:endParaRPr/>
          </a:p>
          <a:p>
            <a:r>
              <a:t>item substitute system for On-line sales</a:t>
            </a:r>
          </a:p>
        </p:txBody>
      </p:sp>
    </p:spTree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Models &amp; Scores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marL="812800" indent="-812800" algn="l">
              <a:spcBef>
                <a:spcPts val="5900"/>
              </a:spcBef>
              <a:buSzPct val="65000"/>
              <a:buBlip>
                <a:blip r:embed="rId2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pPr marL="0" indent="0" algn="ctr">
              <a:buNone/>
            </a:pPr>
            <a:r>
              <a:rPr sz="6600" b="1" spc="-197" dirty="0">
                <a:latin typeface="+mn-lt"/>
                <a:ea typeface="+mn-ea"/>
                <a:cs typeface="+mn-cs"/>
              </a:rPr>
              <a:t>Models &amp; Scores </a:t>
            </a:r>
          </a:p>
        </p:txBody>
      </p:sp>
      <p:sp>
        <p:nvSpPr>
          <p:cNvPr id="167" name="Double-click to edit"/>
          <p:cNvSpPr txBox="1">
            <a:spLocks noGrp="1"/>
          </p:cNvSpPr>
          <p:nvPr>
            <p:ph type="body" idx="1"/>
          </p:nvPr>
        </p:nvSpPr>
        <p:spPr>
          <a:xfrm>
            <a:off x="1750840" y="4193704"/>
            <a:ext cx="20245560" cy="3456384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pPr>
              <a:buFont typeface="Wingdings" panose="05000000000000000000" pitchFamily="2" charset="2"/>
              <a:buChar char="q"/>
            </a:pPr>
            <a:r>
              <a:rPr lang="en-US" sz="3600" dirty="0"/>
              <a:t>The Diff options didn’t change the results of the model 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3600" dirty="0"/>
              <a:t>we get the same results also without the Diff features, just the feature importance changed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>
              <a:buBlip>
                <a:blip r:embed="rId2"/>
              </a:buBlip>
            </a:pPr>
            <a:endParaRPr dirty="0"/>
          </a:p>
        </p:txBody>
      </p:sp>
      <p:pic>
        <p:nvPicPr>
          <p:cNvPr id="3" name="תמונה 2">
            <a:extLst>
              <a:ext uri="{FF2B5EF4-FFF2-40B4-BE49-F238E27FC236}">
                <a16:creationId xmlns:a16="http://schemas.microsoft.com/office/drawing/2014/main" id="{A8AA8B4E-32CD-49C4-8E76-6E96611E6C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91000" y="7146032"/>
            <a:ext cx="16880685" cy="4176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9257628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Models &amp; Scores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marL="812800" indent="-812800" algn="l">
              <a:spcBef>
                <a:spcPts val="5900"/>
              </a:spcBef>
              <a:buSzPct val="65000"/>
              <a:buBlip>
                <a:blip r:embed="rId2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pPr marL="0" indent="0" algn="ctr">
              <a:buNone/>
            </a:pPr>
            <a:r>
              <a:rPr sz="6600" b="1" spc="-197" dirty="0">
                <a:latin typeface="+mn-lt"/>
                <a:ea typeface="+mn-ea"/>
                <a:cs typeface="+mn-cs"/>
              </a:rPr>
              <a:t>Models &amp; Scores </a:t>
            </a:r>
          </a:p>
        </p:txBody>
      </p:sp>
      <p:sp>
        <p:nvSpPr>
          <p:cNvPr id="167" name="Double-click to edit"/>
          <p:cNvSpPr txBox="1">
            <a:spLocks noGrp="1"/>
          </p:cNvSpPr>
          <p:nvPr>
            <p:ph type="body" idx="1"/>
          </p:nvPr>
        </p:nvSpPr>
        <p:spPr>
          <a:xfrm>
            <a:off x="1750840" y="3977680"/>
            <a:ext cx="20245560" cy="8646120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pPr>
              <a:buFont typeface="Wingdings" panose="05000000000000000000" pitchFamily="2" charset="2"/>
              <a:buChar char="q"/>
            </a:pPr>
            <a:r>
              <a:rPr lang="en-US" sz="3600" dirty="0"/>
              <a:t>Feature Importance of  absolute Diff and without Diff features 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>
              <a:buBlip>
                <a:blip r:embed="rId2"/>
              </a:buBlip>
            </a:pPr>
            <a:endParaRPr dirty="0"/>
          </a:p>
        </p:txBody>
      </p:sp>
      <p:pic>
        <p:nvPicPr>
          <p:cNvPr id="6" name="תמונה 5">
            <a:extLst>
              <a:ext uri="{FF2B5EF4-FFF2-40B4-BE49-F238E27FC236}">
                <a16:creationId xmlns:a16="http://schemas.microsoft.com/office/drawing/2014/main" id="{832F643F-4940-4FC1-82FB-C638C9BEB4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60152" y="6641976"/>
            <a:ext cx="8773481" cy="5931101"/>
          </a:xfrm>
          <a:prstGeom prst="rect">
            <a:avLst/>
          </a:prstGeom>
        </p:spPr>
      </p:pic>
      <p:sp>
        <p:nvSpPr>
          <p:cNvPr id="2" name="תיבת טקסט 1">
            <a:extLst>
              <a:ext uri="{FF2B5EF4-FFF2-40B4-BE49-F238E27FC236}">
                <a16:creationId xmlns:a16="http://schemas.microsoft.com/office/drawing/2014/main" id="{77FD87C2-9C2F-4475-ABF3-F8D1CB51DBF4}"/>
              </a:ext>
            </a:extLst>
          </p:cNvPr>
          <p:cNvSpPr txBox="1"/>
          <p:nvPr/>
        </p:nvSpPr>
        <p:spPr>
          <a:xfrm>
            <a:off x="15360352" y="5557597"/>
            <a:ext cx="4968552" cy="65659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1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3600" b="0" i="0" u="none" strike="noStrike" cap="none" spc="0" normalizeH="0" baseline="0" dirty="0">
                <a:ln>
                  <a:noFill/>
                </a:ln>
                <a:solidFill>
                  <a:srgbClr val="EEEEEE"/>
                </a:solidFill>
                <a:effectLst/>
                <a:uFillTx/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rPr>
              <a:t>FE without Diff</a:t>
            </a:r>
            <a:endParaRPr kumimoji="0" lang="he-IL" sz="3600" b="0" i="0" u="none" strike="noStrike" cap="none" spc="0" normalizeH="0" baseline="0" dirty="0">
              <a:ln>
                <a:noFill/>
              </a:ln>
              <a:solidFill>
                <a:srgbClr val="EEEEEE"/>
              </a:solidFill>
              <a:effectLst/>
              <a:uFillTx/>
              <a:latin typeface="Helvetica Neue Bold Condensed"/>
              <a:ea typeface="Helvetica Neue Bold Condensed"/>
              <a:cs typeface="Helvetica Neue Bold Condensed"/>
              <a:sym typeface="Helvetica Neue Bold Condensed"/>
            </a:endParaRPr>
          </a:p>
        </p:txBody>
      </p:sp>
      <p:sp>
        <p:nvSpPr>
          <p:cNvPr id="8" name="תיבת טקסט 7">
            <a:extLst>
              <a:ext uri="{FF2B5EF4-FFF2-40B4-BE49-F238E27FC236}">
                <a16:creationId xmlns:a16="http://schemas.microsoft.com/office/drawing/2014/main" id="{51CD8CC9-19ED-4A4A-A7D4-2A5CC12EFB11}"/>
              </a:ext>
            </a:extLst>
          </p:cNvPr>
          <p:cNvSpPr txBox="1"/>
          <p:nvPr/>
        </p:nvSpPr>
        <p:spPr>
          <a:xfrm>
            <a:off x="2864269" y="5561022"/>
            <a:ext cx="6975314" cy="65659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1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3600" b="0" i="0" u="none" strike="noStrike" cap="none" spc="0" normalizeH="0" baseline="0" dirty="0">
                <a:ln>
                  <a:noFill/>
                </a:ln>
                <a:solidFill>
                  <a:srgbClr val="EEEEEE"/>
                </a:solidFill>
                <a:effectLst/>
                <a:uFillTx/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rPr>
              <a:t>FE with absolute Diff</a:t>
            </a:r>
            <a:endParaRPr kumimoji="0" lang="he-IL" sz="3600" b="0" i="0" u="none" strike="noStrike" cap="none" spc="0" normalizeH="0" baseline="0" dirty="0">
              <a:ln>
                <a:noFill/>
              </a:ln>
              <a:solidFill>
                <a:srgbClr val="EEEEEE"/>
              </a:solidFill>
              <a:effectLst/>
              <a:uFillTx/>
              <a:latin typeface="Helvetica Neue Bold Condensed"/>
              <a:ea typeface="Helvetica Neue Bold Condensed"/>
              <a:cs typeface="Helvetica Neue Bold Condensed"/>
              <a:sym typeface="Helvetica Neue Bold Condensed"/>
            </a:endParaRPr>
          </a:p>
        </p:txBody>
      </p:sp>
      <p:pic>
        <p:nvPicPr>
          <p:cNvPr id="3" name="תמונה 2">
            <a:extLst>
              <a:ext uri="{FF2B5EF4-FFF2-40B4-BE49-F238E27FC236}">
                <a16:creationId xmlns:a16="http://schemas.microsoft.com/office/drawing/2014/main" id="{78A82834-9249-4AF9-9AB6-A5ACBBD01E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84937" y="6716750"/>
            <a:ext cx="8533978" cy="5781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022231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Models &amp; Scores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marL="812800" indent="-812800" algn="l">
              <a:spcBef>
                <a:spcPts val="5900"/>
              </a:spcBef>
              <a:buSzPct val="65000"/>
              <a:buBlip>
                <a:blip r:embed="rId2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pPr marL="0" indent="0" algn="ctr">
              <a:buNone/>
            </a:pPr>
            <a:r>
              <a:rPr sz="6600" b="1" spc="-197" dirty="0">
                <a:latin typeface="+mn-lt"/>
                <a:ea typeface="+mn-ea"/>
                <a:cs typeface="+mn-cs"/>
              </a:rPr>
              <a:t>Models &amp; Scores </a:t>
            </a:r>
          </a:p>
        </p:txBody>
      </p:sp>
      <p:sp>
        <p:nvSpPr>
          <p:cNvPr id="167" name="Double-click to edit"/>
          <p:cNvSpPr txBox="1">
            <a:spLocks noGrp="1"/>
          </p:cNvSpPr>
          <p:nvPr>
            <p:ph type="body" idx="1"/>
          </p:nvPr>
        </p:nvSpPr>
        <p:spPr>
          <a:xfrm>
            <a:off x="1462808" y="4049688"/>
            <a:ext cx="13681520" cy="8475408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pPr>
              <a:buFont typeface="Wingdings" panose="05000000000000000000" pitchFamily="2" charset="2"/>
              <a:buChar char="q"/>
            </a:pPr>
            <a:r>
              <a:rPr lang="en-US" sz="3600" dirty="0"/>
              <a:t>The model is robust by the cross validation</a:t>
            </a:r>
          </a:p>
          <a:p>
            <a:pPr marL="0" indent="0">
              <a:buNone/>
            </a:pPr>
            <a:endParaRPr lang="en-US" sz="3600" dirty="0"/>
          </a:p>
          <a:p>
            <a:pPr marL="0" indent="0">
              <a:buNone/>
            </a:pPr>
            <a:endParaRPr lang="en-US" sz="3600" dirty="0"/>
          </a:p>
          <a:p>
            <a:pPr marL="0" indent="0">
              <a:buNone/>
            </a:pPr>
            <a:endParaRPr lang="en-US" sz="3600" dirty="0"/>
          </a:p>
          <a:p>
            <a:pPr>
              <a:buBlip>
                <a:blip r:embed="rId2"/>
              </a:buBlip>
            </a:pPr>
            <a:r>
              <a:rPr lang="en-US" sz="3600" dirty="0"/>
              <a:t>The AUC  is 0.919 and by the graph can see that we get 80% TF with 20% FP </a:t>
            </a:r>
          </a:p>
          <a:p>
            <a:pPr>
              <a:buBlip>
                <a:blip r:embed="rId2"/>
              </a:buBlip>
            </a:pPr>
            <a:endParaRPr dirty="0"/>
          </a:p>
        </p:txBody>
      </p:sp>
      <p:pic>
        <p:nvPicPr>
          <p:cNvPr id="8" name="תמונה 7">
            <a:extLst>
              <a:ext uri="{FF2B5EF4-FFF2-40B4-BE49-F238E27FC236}">
                <a16:creationId xmlns:a16="http://schemas.microsoft.com/office/drawing/2014/main" id="{59FA8E53-5509-4162-8882-8DC2F4F2EA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91000" y="5310336"/>
            <a:ext cx="9001000" cy="3277063"/>
          </a:xfrm>
          <a:prstGeom prst="rect">
            <a:avLst/>
          </a:prstGeom>
        </p:spPr>
      </p:pic>
      <p:pic>
        <p:nvPicPr>
          <p:cNvPr id="9" name="תמונה 8">
            <a:extLst>
              <a:ext uri="{FF2B5EF4-FFF2-40B4-BE49-F238E27FC236}">
                <a16:creationId xmlns:a16="http://schemas.microsoft.com/office/drawing/2014/main" id="{7442CDFB-ABFC-4AAE-9565-658B2390F4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62624" y="5310336"/>
            <a:ext cx="7485026" cy="7171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5398088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Last stag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marL="812800" indent="-812800" algn="l">
              <a:spcBef>
                <a:spcPts val="5900"/>
              </a:spcBef>
              <a:buSzPct val="65000"/>
              <a:buBlip>
                <a:blip r:embed="rId2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pPr marL="0" indent="0" algn="ctr">
              <a:buNone/>
            </a:pPr>
            <a:r>
              <a:rPr sz="6600" b="1" spc="-197" dirty="0">
                <a:latin typeface="+mn-lt"/>
                <a:ea typeface="+mn-ea"/>
                <a:cs typeface="+mn-cs"/>
              </a:rPr>
              <a:t>Last stage</a:t>
            </a:r>
          </a:p>
        </p:txBody>
      </p:sp>
      <p:sp>
        <p:nvSpPr>
          <p:cNvPr id="170" name="predictions - enrichment did not bring the expected value… ?…"/>
          <p:cNvSpPr txBox="1">
            <a:spLocks noGrp="1"/>
          </p:cNvSpPr>
          <p:nvPr>
            <p:ph type="body" idx="1"/>
          </p:nvPr>
        </p:nvSpPr>
        <p:spPr>
          <a:xfrm>
            <a:off x="2038872" y="4193704"/>
            <a:ext cx="19621500" cy="7272808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pPr>
              <a:buBlip>
                <a:blip r:embed="rId2"/>
              </a:buBlip>
            </a:pPr>
            <a:r>
              <a:rPr lang="en-US" sz="3600" dirty="0"/>
              <a:t>Use additional datasets to validate the model </a:t>
            </a:r>
            <a:r>
              <a:rPr sz="3600" dirty="0"/>
              <a:t>Cans &amp; </a:t>
            </a:r>
            <a:r>
              <a:rPr sz="3600" dirty="0" err="1"/>
              <a:t>Detregents</a:t>
            </a:r>
            <a:endParaRPr lang="en-US" sz="3600" dirty="0"/>
          </a:p>
          <a:p>
            <a:pPr marL="0" indent="0">
              <a:buNone/>
            </a:pPr>
            <a:endParaRPr dirty="0"/>
          </a:p>
        </p:txBody>
      </p:sp>
      <p:pic>
        <p:nvPicPr>
          <p:cNvPr id="4" name="תמונה 3">
            <a:extLst>
              <a:ext uri="{FF2B5EF4-FFF2-40B4-BE49-F238E27FC236}">
                <a16:creationId xmlns:a16="http://schemas.microsoft.com/office/drawing/2014/main" id="{658D25EE-17C5-47AA-A47B-806B223561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22848" y="6641976"/>
            <a:ext cx="20836358" cy="3672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985013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Last stag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marL="812800" indent="-812800" algn="l">
              <a:spcBef>
                <a:spcPts val="5900"/>
              </a:spcBef>
              <a:buSzPct val="65000"/>
              <a:buBlip>
                <a:blip r:embed="rId2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pPr marL="0" indent="0" algn="ctr">
              <a:buNone/>
            </a:pPr>
            <a:r>
              <a:rPr sz="6600" b="1" spc="-197" dirty="0">
                <a:latin typeface="+mn-lt"/>
                <a:ea typeface="+mn-ea"/>
                <a:cs typeface="+mn-cs"/>
              </a:rPr>
              <a:t>Last stage</a:t>
            </a:r>
          </a:p>
        </p:txBody>
      </p:sp>
      <p:sp>
        <p:nvSpPr>
          <p:cNvPr id="170" name="predictions - enrichment did not bring the expected value… ?…"/>
          <p:cNvSpPr txBox="1">
            <a:spLocks noGrp="1"/>
          </p:cNvSpPr>
          <p:nvPr>
            <p:ph type="body" idx="1"/>
          </p:nvPr>
        </p:nvSpPr>
        <p:spPr>
          <a:xfrm>
            <a:off x="1390800" y="4193704"/>
            <a:ext cx="21872996" cy="7848872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pPr>
              <a:buFont typeface="Wingdings" panose="05000000000000000000" pitchFamily="2" charset="2"/>
              <a:buChar char="q"/>
            </a:pPr>
            <a:r>
              <a:rPr lang="en-US" sz="3600" dirty="0"/>
              <a:t>Recommendation system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3600" dirty="0"/>
              <a:t>Get the </a:t>
            </a:r>
            <a:r>
              <a:rPr lang="en-US" sz="3600" dirty="0" err="1"/>
              <a:t>predict_proba</a:t>
            </a:r>
            <a:r>
              <a:rPr lang="en-US" sz="3600" dirty="0"/>
              <a:t> of RF model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3600" dirty="0"/>
              <a:t>Calculate avg and Std of soft predict for every product and sub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3600" dirty="0"/>
              <a:t>Rank every couple of product by 80% avg and 20% Std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3600" dirty="0"/>
              <a:t>Test if best subs by model exist in top 2 subs on actual data and found it in </a:t>
            </a:r>
            <a:r>
              <a:rPr lang="en-US" sz="3600" b="1" dirty="0"/>
              <a:t>89%</a:t>
            </a:r>
          </a:p>
          <a:p>
            <a:pPr lvl="1">
              <a:buFont typeface="Wingdings" panose="05000000000000000000" pitchFamily="2" charset="2"/>
              <a:buChar char="q"/>
            </a:pPr>
            <a:endParaRPr lang="en-US" dirty="0"/>
          </a:p>
          <a:p>
            <a:pPr>
              <a:buFont typeface="Wingdings" panose="05000000000000000000" pitchFamily="2" charset="2"/>
              <a:buChar char="q"/>
            </a:pPr>
            <a:endParaRPr dirty="0"/>
          </a:p>
        </p:txBody>
      </p:sp>
      <p:pic>
        <p:nvPicPr>
          <p:cNvPr id="4" name="תמונה 3">
            <a:extLst>
              <a:ext uri="{FF2B5EF4-FFF2-40B4-BE49-F238E27FC236}">
                <a16:creationId xmlns:a16="http://schemas.microsoft.com/office/drawing/2014/main" id="{E2E12023-A4F5-4E20-95D5-4703D07DBC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68064" y="4409728"/>
            <a:ext cx="9982927" cy="1800200"/>
          </a:xfrm>
          <a:prstGeom prst="rect">
            <a:avLst/>
          </a:prstGeom>
        </p:spPr>
      </p:pic>
    </p:spTree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Conclusion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marL="812800" indent="-812800" algn="l">
              <a:spcBef>
                <a:spcPts val="5900"/>
              </a:spcBef>
              <a:buSzPct val="65000"/>
              <a:buBlip>
                <a:blip r:embed="rId2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pPr marL="0" indent="0" algn="ctr">
              <a:buNone/>
            </a:pPr>
            <a:r>
              <a:rPr sz="6600" b="1" spc="-197" dirty="0">
                <a:latin typeface="+mn-lt"/>
                <a:ea typeface="+mn-ea"/>
                <a:cs typeface="+mn-cs"/>
              </a:rPr>
              <a:t>Conclusion</a:t>
            </a:r>
          </a:p>
        </p:txBody>
      </p:sp>
      <p:sp>
        <p:nvSpPr>
          <p:cNvPr id="173" name="Model is robust and valid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anchor="t">
            <a:normAutofit/>
          </a:bodyPr>
          <a:lstStyle/>
          <a:p>
            <a:pPr>
              <a:buBlip>
                <a:blip r:embed="rId2"/>
              </a:buBlip>
            </a:pPr>
            <a:r>
              <a:rPr sz="3600" dirty="0"/>
              <a:t>Model is robust and valid</a:t>
            </a:r>
          </a:p>
          <a:p>
            <a:pPr>
              <a:buBlip>
                <a:blip r:embed="rId2"/>
              </a:buBlip>
            </a:pPr>
            <a:r>
              <a:rPr lang="en-US" sz="3600" dirty="0"/>
              <a:t>The same model tried </a:t>
            </a:r>
            <a:r>
              <a:rPr sz="3600" dirty="0"/>
              <a:t>over different data </a:t>
            </a:r>
            <a:endParaRPr lang="he-IL" sz="3600" dirty="0"/>
          </a:p>
          <a:p>
            <a:pPr>
              <a:buBlip>
                <a:blip r:embed="rId2"/>
              </a:buBlip>
            </a:pPr>
            <a:r>
              <a:rPr lang="en-US" sz="3600" dirty="0"/>
              <a:t>R</a:t>
            </a:r>
            <a:r>
              <a:rPr sz="3600" dirty="0"/>
              <a:t>andom forest</a:t>
            </a:r>
            <a:r>
              <a:rPr lang="he-IL" sz="3600" dirty="0"/>
              <a:t> </a:t>
            </a:r>
            <a:r>
              <a:rPr lang="en-US" sz="3600" dirty="0"/>
              <a:t> has the best accuracy</a:t>
            </a:r>
          </a:p>
          <a:p>
            <a:r>
              <a:rPr sz="3600" dirty="0"/>
              <a:t> </a:t>
            </a:r>
            <a:r>
              <a:rPr lang="en-US" sz="3600" dirty="0"/>
              <a:t>In baseline model we get 64%</a:t>
            </a:r>
            <a:r>
              <a:rPr lang="he-IL" sz="3600" dirty="0"/>
              <a:t> </a:t>
            </a:r>
            <a:r>
              <a:rPr lang="en-US" sz="3600" dirty="0"/>
              <a:t> precision and 63% F1 while in RF the metrics was 84%</a:t>
            </a:r>
            <a:r>
              <a:rPr lang="he-IL" sz="3600" dirty="0"/>
              <a:t> </a:t>
            </a:r>
            <a:r>
              <a:rPr lang="en-US" sz="3600" dirty="0"/>
              <a:t> precision and 82%</a:t>
            </a:r>
            <a:r>
              <a:rPr sz="3600" dirty="0"/>
              <a:t> </a:t>
            </a:r>
            <a:endParaRPr lang="he-IL" sz="3600" dirty="0"/>
          </a:p>
          <a:p>
            <a:pPr>
              <a:buBlip>
                <a:blip r:embed="rId2"/>
              </a:buBlip>
            </a:pPr>
            <a:r>
              <a:rPr lang="en-US" sz="3600" dirty="0"/>
              <a:t>N</a:t>
            </a:r>
            <a:r>
              <a:rPr sz="3600" dirty="0"/>
              <a:t>ew recommendation  based on predict probe</a:t>
            </a:r>
          </a:p>
        </p:txBody>
      </p:sp>
    </p:spTree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Future options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marL="812800" indent="-812800" algn="l">
              <a:spcBef>
                <a:spcPts val="5900"/>
              </a:spcBef>
              <a:buSzPct val="65000"/>
              <a:buBlip>
                <a:blip r:embed="rId2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pPr marL="0" indent="0" algn="ctr">
              <a:buNone/>
            </a:pPr>
            <a:r>
              <a:rPr sz="6600" b="1" spc="-197" dirty="0">
                <a:latin typeface="+mn-lt"/>
                <a:ea typeface="+mn-ea"/>
                <a:cs typeface="+mn-cs"/>
              </a:rPr>
              <a:t>Future </a:t>
            </a:r>
            <a:r>
              <a:rPr lang="en-US" sz="6600" b="1" spc="-197" dirty="0">
                <a:latin typeface="+mn-lt"/>
                <a:ea typeface="+mn-ea"/>
                <a:cs typeface="+mn-cs"/>
              </a:rPr>
              <a:t>development</a:t>
            </a:r>
            <a:endParaRPr sz="6600" b="1" spc="-197" dirty="0">
              <a:latin typeface="+mn-lt"/>
              <a:ea typeface="+mn-ea"/>
              <a:cs typeface="+mn-cs"/>
            </a:endParaRPr>
          </a:p>
        </p:txBody>
      </p:sp>
      <p:sp>
        <p:nvSpPr>
          <p:cNvPr id="176" name="Model per division over all products tre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anchor="t">
            <a:normAutofit/>
          </a:bodyPr>
          <a:lstStyle/>
          <a:p>
            <a:pPr>
              <a:buBlip>
                <a:blip r:embed="rId2"/>
              </a:buBlip>
            </a:pPr>
            <a:r>
              <a:rPr lang="en-US" sz="3600" dirty="0"/>
              <a:t>Run </a:t>
            </a:r>
            <a:r>
              <a:rPr sz="3600" dirty="0"/>
              <a:t>Model per </a:t>
            </a:r>
            <a:r>
              <a:rPr lang="en-US" sz="3600" dirty="0"/>
              <a:t>Category </a:t>
            </a:r>
            <a:r>
              <a:rPr sz="3600" dirty="0"/>
              <a:t>over all products tree</a:t>
            </a:r>
          </a:p>
          <a:p>
            <a:pPr>
              <a:buBlip>
                <a:blip r:embed="rId2"/>
              </a:buBlip>
            </a:pPr>
            <a:r>
              <a:rPr lang="en-US" sz="3600" dirty="0"/>
              <a:t>C</a:t>
            </a:r>
            <a:r>
              <a:rPr sz="3600" dirty="0"/>
              <a:t>lustering</a:t>
            </a:r>
            <a:r>
              <a:rPr lang="en-US" sz="3600" dirty="0"/>
              <a:t> </a:t>
            </a:r>
            <a:endParaRPr sz="3600" dirty="0"/>
          </a:p>
          <a:p>
            <a:pPr>
              <a:buBlip>
                <a:blip r:embed="rId2"/>
              </a:buBlip>
            </a:pPr>
            <a:r>
              <a:rPr lang="en-US" sz="3600" dirty="0"/>
              <a:t>P</a:t>
            </a:r>
            <a:r>
              <a:rPr sz="3600" dirty="0"/>
              <a:t>ersonalization!</a:t>
            </a:r>
          </a:p>
        </p:txBody>
      </p:sp>
      <p:sp>
        <p:nvSpPr>
          <p:cNvPr id="2" name="AutoShape 2" descr="Substitute-Products">
            <a:extLst>
              <a:ext uri="{FF2B5EF4-FFF2-40B4-BE49-F238E27FC236}">
                <a16:creationId xmlns:a16="http://schemas.microsoft.com/office/drawing/2014/main" id="{92B7E4BD-84E0-46D7-A8E3-0873AD8D69D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2039600" y="6705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e-IL"/>
          </a:p>
        </p:txBody>
      </p:sp>
      <p:pic>
        <p:nvPicPr>
          <p:cNvPr id="4" name="תמונה 3">
            <a:extLst>
              <a:ext uri="{FF2B5EF4-FFF2-40B4-BE49-F238E27FC236}">
                <a16:creationId xmlns:a16="http://schemas.microsoft.com/office/drawing/2014/main" id="{81B84CED-F71D-4179-94C7-7ECF034E73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83888" y="6425952"/>
            <a:ext cx="9937104" cy="5705268"/>
          </a:xfrm>
          <a:prstGeom prst="rect">
            <a:avLst/>
          </a:prstGeom>
        </p:spPr>
      </p:pic>
    </p:spTree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Agenda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dirty="0"/>
              <a:t>Agenda</a:t>
            </a:r>
          </a:p>
        </p:txBody>
      </p:sp>
      <p:sp>
        <p:nvSpPr>
          <p:cNvPr id="146" name="Business Issu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>
            <a:noAutofit/>
          </a:bodyPr>
          <a:lstStyle/>
          <a:p>
            <a:pPr marL="593344" indent="-593344" defTabSz="602615">
              <a:spcBef>
                <a:spcPts val="4300"/>
              </a:spcBef>
              <a:buBlip>
                <a:blip r:embed="rId2"/>
              </a:buBlip>
              <a:defRPr sz="3358"/>
            </a:pPr>
            <a:r>
              <a:rPr sz="3600" dirty="0"/>
              <a:t>Business Issue </a:t>
            </a:r>
          </a:p>
          <a:p>
            <a:pPr marL="593344" indent="-593344" defTabSz="602615">
              <a:spcBef>
                <a:spcPts val="4300"/>
              </a:spcBef>
              <a:buBlip>
                <a:blip r:embed="rId2"/>
              </a:buBlip>
              <a:defRPr sz="3358"/>
            </a:pPr>
            <a:r>
              <a:rPr sz="3600" dirty="0"/>
              <a:t>Target value</a:t>
            </a:r>
          </a:p>
          <a:p>
            <a:pPr marL="593344" indent="-593344" defTabSz="602615">
              <a:spcBef>
                <a:spcPts val="4300"/>
              </a:spcBef>
              <a:buBlip>
                <a:blip r:embed="rId2"/>
              </a:buBlip>
              <a:defRPr sz="3358"/>
            </a:pPr>
            <a:r>
              <a:rPr sz="3600" dirty="0"/>
              <a:t>EDA</a:t>
            </a:r>
          </a:p>
          <a:p>
            <a:pPr marL="593344" indent="-593344" defTabSz="602615">
              <a:spcBef>
                <a:spcPts val="4300"/>
              </a:spcBef>
              <a:buBlip>
                <a:blip r:embed="rId2"/>
              </a:buBlip>
              <a:defRPr sz="3358"/>
            </a:pPr>
            <a:r>
              <a:rPr sz="3600" dirty="0"/>
              <a:t>Data Preparation &amp; Data Manipulation </a:t>
            </a:r>
          </a:p>
          <a:p>
            <a:pPr marL="593344" indent="-593344" defTabSz="602615">
              <a:spcBef>
                <a:spcPts val="4300"/>
              </a:spcBef>
              <a:buBlip>
                <a:blip r:embed="rId2"/>
              </a:buBlip>
              <a:defRPr sz="3358"/>
            </a:pPr>
            <a:r>
              <a:rPr sz="3600" dirty="0"/>
              <a:t>Models &amp; Scores </a:t>
            </a:r>
          </a:p>
          <a:p>
            <a:pPr marL="593344" indent="-593344" defTabSz="602615">
              <a:spcBef>
                <a:spcPts val="4300"/>
              </a:spcBef>
              <a:buBlip>
                <a:blip r:embed="rId2"/>
              </a:buBlip>
              <a:defRPr sz="3358"/>
            </a:pPr>
            <a:r>
              <a:rPr sz="3600" dirty="0"/>
              <a:t>Last stage </a:t>
            </a:r>
          </a:p>
          <a:p>
            <a:pPr marL="593344" indent="-593344" defTabSz="602615">
              <a:spcBef>
                <a:spcPts val="4300"/>
              </a:spcBef>
              <a:buBlip>
                <a:blip r:embed="rId2"/>
              </a:buBlip>
              <a:defRPr sz="3358"/>
            </a:pPr>
            <a:r>
              <a:rPr sz="3600" dirty="0"/>
              <a:t>Conclusion </a:t>
            </a:r>
          </a:p>
          <a:p>
            <a:pPr marL="593344" indent="-593344" defTabSz="602615">
              <a:spcBef>
                <a:spcPts val="4300"/>
              </a:spcBef>
              <a:buBlip>
                <a:blip r:embed="rId2"/>
              </a:buBlip>
              <a:defRPr sz="3358"/>
            </a:pPr>
            <a:r>
              <a:rPr sz="3600" dirty="0"/>
              <a:t>Future options </a:t>
            </a:r>
          </a:p>
        </p:txBody>
      </p:sp>
    </p:spTree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אובייקט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0220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8" name="Business Issu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marL="812800" indent="-812800" algn="l">
              <a:spcBef>
                <a:spcPts val="5900"/>
              </a:spcBef>
              <a:buSzPct val="65000"/>
              <a:buBlip>
                <a:blip r:embed="rId6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pPr marL="0" indent="0" algn="ctr">
              <a:buNone/>
            </a:pPr>
            <a:r>
              <a:rPr sz="6600" b="1" spc="-197" dirty="0">
                <a:latin typeface="+mn-lt"/>
                <a:ea typeface="+mn-ea"/>
                <a:cs typeface="+mn-cs"/>
                <a:sym typeface="Superclarendon Regular"/>
              </a:rPr>
              <a:t>Business Issue</a:t>
            </a:r>
          </a:p>
        </p:txBody>
      </p:sp>
      <p:sp>
        <p:nvSpPr>
          <p:cNvPr id="149" name="not having sub prod or having bad sub prod, cut sales!…"/>
          <p:cNvSpPr txBox="1">
            <a:spLocks noGrp="1"/>
          </p:cNvSpPr>
          <p:nvPr>
            <p:ph type="body" idx="1"/>
          </p:nvPr>
        </p:nvSpPr>
        <p:spPr>
          <a:xfrm>
            <a:off x="2374900" y="4481736"/>
            <a:ext cx="15649748" cy="8142064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pPr>
              <a:buBlip>
                <a:blip r:embed="rId6"/>
              </a:buBlip>
            </a:pPr>
            <a:r>
              <a:rPr lang="en-US" sz="3600" dirty="0"/>
              <a:t>The online sales in </a:t>
            </a:r>
            <a:r>
              <a:rPr lang="en-US" sz="3600" dirty="0" err="1"/>
              <a:t>Shufersal</a:t>
            </a:r>
            <a:r>
              <a:rPr lang="en-US" sz="3600" dirty="0"/>
              <a:t>  is 22% of sales in 2021, and growth every month</a:t>
            </a:r>
            <a:endParaRPr lang="he-IL" sz="3600" dirty="0"/>
          </a:p>
          <a:p>
            <a:r>
              <a:rPr lang="en-US" sz="3600" dirty="0"/>
              <a:t>Our data is  based  on the SMS system of substitute products, and show if customer approved or denied the proposal substitute</a:t>
            </a:r>
            <a:endParaRPr lang="he-IL" sz="3600" dirty="0"/>
          </a:p>
          <a:p>
            <a:pPr>
              <a:buBlip>
                <a:blip r:embed="rId6"/>
              </a:buBlip>
            </a:pPr>
            <a:r>
              <a:rPr lang="en-US" sz="3600" dirty="0"/>
              <a:t>N</a:t>
            </a:r>
            <a:r>
              <a:rPr sz="3600" dirty="0"/>
              <a:t>ot having sub</a:t>
            </a:r>
            <a:r>
              <a:rPr lang="en-US" sz="3600" dirty="0"/>
              <a:t>s</a:t>
            </a:r>
            <a:r>
              <a:rPr sz="3600" dirty="0"/>
              <a:t> prod or having bad sub</a:t>
            </a:r>
            <a:r>
              <a:rPr lang="en-US" sz="3600" dirty="0"/>
              <a:t>s</a:t>
            </a:r>
            <a:r>
              <a:rPr sz="3600" dirty="0"/>
              <a:t> prod, cut sales! </a:t>
            </a:r>
          </a:p>
          <a:p>
            <a:pPr>
              <a:buBlip>
                <a:blip r:embed="rId6"/>
              </a:buBlip>
            </a:pPr>
            <a:r>
              <a:rPr sz="3600" dirty="0"/>
              <a:t>Only one chance to win!</a:t>
            </a:r>
          </a:p>
          <a:p>
            <a:pPr>
              <a:buBlip>
                <a:blip r:embed="rId6"/>
              </a:buBlip>
            </a:pPr>
            <a:endParaRPr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56696" y="4841776"/>
            <a:ext cx="4464496" cy="6700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אובייקט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7506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1" name="Target valu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marL="812800" indent="-812800" algn="l">
              <a:spcBef>
                <a:spcPts val="5900"/>
              </a:spcBef>
              <a:buSzPct val="65000"/>
              <a:buBlip>
                <a:blip r:embed="rId6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pPr marL="0" indent="0" algn="ctr">
              <a:buNone/>
            </a:pPr>
            <a:r>
              <a:rPr sz="6600" b="1" spc="-197" dirty="0">
                <a:latin typeface="+mn-lt"/>
                <a:ea typeface="+mn-ea"/>
                <a:cs typeface="+mn-cs"/>
              </a:rPr>
              <a:t>Target value</a:t>
            </a:r>
            <a:r>
              <a:rPr lang="en-US" sz="6600" b="1" spc="-197" dirty="0">
                <a:latin typeface="+mn-lt"/>
                <a:ea typeface="+mn-ea"/>
                <a:cs typeface="+mn-cs"/>
              </a:rPr>
              <a:t> and model process</a:t>
            </a:r>
            <a:endParaRPr sz="6600" b="1" spc="-197" dirty="0">
              <a:latin typeface="+mn-lt"/>
              <a:ea typeface="+mn-ea"/>
              <a:cs typeface="+mn-cs"/>
            </a:endParaRPr>
          </a:p>
        </p:txBody>
      </p:sp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9273" y="4405313"/>
            <a:ext cx="13465496" cy="85307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" name="EDA"/>
          <p:cNvSpPr txBox="1">
            <a:spLocks noGrp="1"/>
          </p:cNvSpPr>
          <p:nvPr>
            <p:ph type="title"/>
          </p:nvPr>
        </p:nvSpPr>
        <p:spPr>
          <a:xfrm>
            <a:off x="2374900" y="977900"/>
            <a:ext cx="14857660" cy="2679700"/>
          </a:xfrm>
          <a:prstGeom prst="rect">
            <a:avLst/>
          </a:prstGeom>
        </p:spPr>
        <p:txBody>
          <a:bodyPr>
            <a:normAutofit/>
          </a:bodyPr>
          <a:lstStyle>
            <a:lvl1pPr marL="812800" indent="-812800" algn="l">
              <a:spcBef>
                <a:spcPts val="5900"/>
              </a:spcBef>
              <a:buSzPct val="65000"/>
              <a:buBlip>
                <a:blip r:embed="rId2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pPr marL="0" indent="0" algn="ctr">
              <a:buNone/>
            </a:pPr>
            <a:r>
              <a:rPr sz="6600" b="1" spc="-197" dirty="0">
                <a:latin typeface="+mn-lt"/>
                <a:ea typeface="+mn-ea"/>
                <a:cs typeface="+mn-cs"/>
              </a:rPr>
              <a:t>EDA</a:t>
            </a:r>
          </a:p>
        </p:txBody>
      </p:sp>
      <p:sp>
        <p:nvSpPr>
          <p:cNvPr id="155" name="What data we got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anchor="t">
            <a:normAutofit/>
          </a:bodyPr>
          <a:lstStyle/>
          <a:p>
            <a:pPr>
              <a:buBlip>
                <a:blip r:embed="rId2"/>
              </a:buBlip>
            </a:pPr>
            <a:r>
              <a:rPr lang="en-US" sz="3600" dirty="0"/>
              <a:t>Data distribution</a:t>
            </a:r>
            <a:endParaRPr sz="3600" dirty="0"/>
          </a:p>
          <a:p>
            <a:pPr>
              <a:buBlip>
                <a:blip r:embed="rId2"/>
              </a:buBlip>
            </a:pPr>
            <a:r>
              <a:rPr lang="en-US" sz="3600" dirty="0"/>
              <a:t>Distribution over time</a:t>
            </a:r>
            <a:endParaRPr sz="3600" dirty="0"/>
          </a:p>
          <a:p>
            <a:pPr>
              <a:buBlip>
                <a:blip r:embed="rId2"/>
              </a:buBlip>
            </a:pPr>
            <a:r>
              <a:rPr lang="en-US" sz="3600" dirty="0"/>
              <a:t>Substitute groups</a:t>
            </a:r>
            <a:endParaRPr sz="36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657AB02-6F67-4AD8-AFC3-551E3CBB85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20592" y="1558679"/>
            <a:ext cx="5334000" cy="319087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F938FBE-EC36-4E43-8709-6FAEA4255D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46784" y="9053391"/>
            <a:ext cx="5334000" cy="355260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1FC8DF9-EB28-41DC-88F5-F6B853EF25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55696" y="5841509"/>
            <a:ext cx="13827317" cy="6839441"/>
          </a:xfrm>
          <a:prstGeom prst="rect">
            <a:avLst/>
          </a:prstGeom>
        </p:spPr>
      </p:pic>
    </p:spTree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031E3F-1772-475A-90C0-DD6AFAD2E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0B68F95-ECA7-4D8E-A2CA-3C828EE275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e-IL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B9F2E00-E981-4A85-90D1-2A86D06FB4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5983" y="680225"/>
            <a:ext cx="22904602" cy="12322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0596421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אובייקט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4831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7" name="Data Preparation &amp; Data Manipulation  — itay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marL="812800" indent="-812800" algn="l">
              <a:spcBef>
                <a:spcPts val="5900"/>
              </a:spcBef>
              <a:buSzPct val="65000"/>
              <a:buBlip>
                <a:blip r:embed="rId6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pPr marL="0" indent="0" algn="ctr">
              <a:buNone/>
            </a:pPr>
            <a:r>
              <a:rPr sz="6600" b="1" spc="-197" dirty="0">
                <a:latin typeface="+mn-lt"/>
                <a:ea typeface="+mn-ea"/>
                <a:cs typeface="+mn-cs"/>
              </a:rPr>
              <a:t>Data Preparation &amp; Data Manipulation  </a:t>
            </a:r>
          </a:p>
        </p:txBody>
      </p:sp>
      <p:sp>
        <p:nvSpPr>
          <p:cNvPr id="158" name="Difffffff varying types…"/>
          <p:cNvSpPr txBox="1">
            <a:spLocks noGrp="1"/>
          </p:cNvSpPr>
          <p:nvPr>
            <p:ph type="body" idx="1"/>
          </p:nvPr>
        </p:nvSpPr>
        <p:spPr>
          <a:xfrm>
            <a:off x="1643508" y="3955108"/>
            <a:ext cx="19621500" cy="9167588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indent="-648000">
              <a:spcBef>
                <a:spcPts val="3000"/>
              </a:spcBef>
              <a:buBlip>
                <a:blip r:embed="rId6"/>
              </a:buBlip>
            </a:pPr>
            <a:r>
              <a:rPr lang="en-US" sz="3600" dirty="0"/>
              <a:t>The main dataset contains the sweets category</a:t>
            </a:r>
            <a:endParaRPr lang="he-IL" sz="3600" dirty="0"/>
          </a:p>
          <a:p>
            <a:pPr indent="-648000">
              <a:spcBef>
                <a:spcPts val="3000"/>
              </a:spcBef>
              <a:buBlip>
                <a:blip r:embed="rId6"/>
              </a:buBlip>
            </a:pPr>
            <a:r>
              <a:rPr sz="3600" dirty="0"/>
              <a:t>Diff</a:t>
            </a:r>
            <a:r>
              <a:rPr lang="he-IL" sz="3600" dirty="0"/>
              <a:t> </a:t>
            </a:r>
            <a:r>
              <a:rPr sz="3600" dirty="0"/>
              <a:t>varying types</a:t>
            </a:r>
            <a:r>
              <a:rPr lang="en-US" sz="3600" dirty="0"/>
              <a:t>: </a:t>
            </a:r>
          </a:p>
          <a:p>
            <a:pPr lvl="1" indent="-648000">
              <a:spcBef>
                <a:spcPts val="3000"/>
              </a:spcBef>
              <a:buFont typeface="Wingdings" panose="05000000000000000000" pitchFamily="2" charset="2"/>
              <a:buChar char="v"/>
            </a:pPr>
            <a:r>
              <a:rPr lang="en-US" sz="3600" dirty="0"/>
              <a:t>absolute diff</a:t>
            </a:r>
          </a:p>
          <a:p>
            <a:pPr lvl="1" indent="-648000">
              <a:spcBef>
                <a:spcPts val="3000"/>
              </a:spcBef>
              <a:buFont typeface="Wingdings" panose="05000000000000000000" pitchFamily="2" charset="2"/>
              <a:buChar char="v"/>
            </a:pPr>
            <a:r>
              <a:rPr lang="en-US" sz="3600" dirty="0"/>
              <a:t>Ratio diff</a:t>
            </a:r>
          </a:p>
          <a:p>
            <a:pPr lvl="1" indent="-648000">
              <a:spcBef>
                <a:spcPts val="3000"/>
              </a:spcBef>
              <a:buFont typeface="Wingdings" panose="05000000000000000000" pitchFamily="2" charset="2"/>
              <a:buChar char="v"/>
            </a:pPr>
            <a:r>
              <a:rPr lang="en-US" sz="3600" dirty="0"/>
              <a:t>Relative diff</a:t>
            </a:r>
          </a:p>
          <a:p>
            <a:pPr lvl="1" indent="-648000">
              <a:spcBef>
                <a:spcPts val="3000"/>
              </a:spcBef>
              <a:buFont typeface="Wingdings" panose="05000000000000000000" pitchFamily="2" charset="2"/>
              <a:buChar char="v"/>
            </a:pPr>
            <a:r>
              <a:rPr lang="en-US" sz="3600" dirty="0"/>
              <a:t>Without Diff</a:t>
            </a:r>
            <a:endParaRPr sz="3600" dirty="0"/>
          </a:p>
          <a:p>
            <a:pPr indent="-648000">
              <a:spcBef>
                <a:spcPts val="3000"/>
              </a:spcBef>
              <a:buBlip>
                <a:blip r:embed="rId6"/>
              </a:buBlip>
            </a:pPr>
            <a:r>
              <a:rPr sz="3600" dirty="0"/>
              <a:t>Dummies</a:t>
            </a:r>
          </a:p>
          <a:p>
            <a:pPr indent="-648000">
              <a:spcBef>
                <a:spcPts val="3000"/>
              </a:spcBef>
              <a:buBlip>
                <a:blip r:embed="rId6"/>
              </a:buBlip>
            </a:pPr>
            <a:r>
              <a:rPr lang="en-US" sz="3600" dirty="0"/>
              <a:t>P</a:t>
            </a:r>
            <a:r>
              <a:rPr sz="3600" dirty="0"/>
              <a:t>roduct statistics panel by </a:t>
            </a:r>
            <a:r>
              <a:rPr lang="en-US" sz="3600" dirty="0"/>
              <a:t>sales</a:t>
            </a:r>
            <a:r>
              <a:rPr sz="3600" dirty="0"/>
              <a:t> </a:t>
            </a:r>
          </a:p>
          <a:p>
            <a:pPr indent="-648000">
              <a:spcBef>
                <a:spcPts val="3000"/>
              </a:spcBef>
              <a:buBlip>
                <a:blip r:embed="rId6"/>
              </a:buBlip>
            </a:pPr>
            <a:r>
              <a:rPr sz="3600" dirty="0"/>
              <a:t>Date to period - holiday indication</a:t>
            </a:r>
          </a:p>
          <a:p>
            <a:pPr indent="-648000">
              <a:spcBef>
                <a:spcPts val="3000"/>
              </a:spcBef>
              <a:buBlip>
                <a:blip r:embed="rId6"/>
              </a:buBlip>
            </a:pPr>
            <a:r>
              <a:rPr sz="3600" dirty="0"/>
              <a:t>important info - Promoted products, ingredients</a:t>
            </a:r>
          </a:p>
        </p:txBody>
      </p:sp>
      <p:pic>
        <p:nvPicPr>
          <p:cNvPr id="4098" name="Picture 2" descr="Imag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64208" y="7722096"/>
            <a:ext cx="6339724" cy="47547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תמונה 4">
            <a:extLst>
              <a:ext uri="{FF2B5EF4-FFF2-40B4-BE49-F238E27FC236}">
                <a16:creationId xmlns:a16="http://schemas.microsoft.com/office/drawing/2014/main" id="{8A635947-D04D-4D4B-B9BE-4266F7A207D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35416" y="5777880"/>
            <a:ext cx="16606086" cy="936104"/>
          </a:xfrm>
          <a:prstGeom prst="rect">
            <a:avLst/>
          </a:prstGeom>
        </p:spPr>
      </p:pic>
    </p:spTree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" name="Models &amp; Scores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marL="812800" indent="-812800" algn="l">
              <a:spcBef>
                <a:spcPts val="5900"/>
              </a:spcBef>
              <a:buSzPct val="65000"/>
              <a:buBlip>
                <a:blip r:embed="rId4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pPr marL="0" indent="0" algn="ctr">
              <a:buNone/>
            </a:pPr>
            <a:r>
              <a:rPr sz="6600" b="1" spc="-197" dirty="0">
                <a:latin typeface="+mn-lt"/>
                <a:ea typeface="+mn-ea"/>
                <a:cs typeface="+mn-cs"/>
              </a:rPr>
              <a:t>Models &amp; Scores </a:t>
            </a:r>
          </a:p>
        </p:txBody>
      </p:sp>
      <p:sp>
        <p:nvSpPr>
          <p:cNvPr id="161" name="8 Models…"/>
          <p:cNvSpPr txBox="1">
            <a:spLocks noGrp="1"/>
          </p:cNvSpPr>
          <p:nvPr>
            <p:ph type="body" idx="1"/>
          </p:nvPr>
        </p:nvSpPr>
        <p:spPr>
          <a:xfrm>
            <a:off x="1822848" y="4049687"/>
            <a:ext cx="19442160" cy="1224137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q"/>
            </a:pPr>
            <a:r>
              <a:rPr lang="en-US" sz="3600" dirty="0"/>
              <a:t>Random Forest has the best score of precision and F1</a:t>
            </a:r>
          </a:p>
        </p:txBody>
      </p:sp>
      <p:pic>
        <p:nvPicPr>
          <p:cNvPr id="11" name="תמונה 10">
            <a:extLst>
              <a:ext uri="{FF2B5EF4-FFF2-40B4-BE49-F238E27FC236}">
                <a16:creationId xmlns:a16="http://schemas.microsoft.com/office/drawing/2014/main" id="{A9A9BACF-1F6D-42AD-A85E-A21DB3829C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0880" y="6065911"/>
            <a:ext cx="20234248" cy="5774019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Models &amp; Scores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marL="812800" indent="-812800" algn="l">
              <a:spcBef>
                <a:spcPts val="5900"/>
              </a:spcBef>
              <a:buSzPct val="65000"/>
              <a:buBlip>
                <a:blip r:embed="rId2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pPr marL="0" indent="0" algn="ctr">
              <a:buNone/>
            </a:pPr>
            <a:r>
              <a:rPr sz="6600" b="1" spc="-197" dirty="0">
                <a:latin typeface="+mn-lt"/>
                <a:ea typeface="+mn-ea"/>
                <a:cs typeface="+mn-cs"/>
              </a:rPr>
              <a:t>Models &amp; Scores </a:t>
            </a:r>
          </a:p>
        </p:txBody>
      </p:sp>
      <p:sp>
        <p:nvSpPr>
          <p:cNvPr id="167" name="Double-click to edit"/>
          <p:cNvSpPr txBox="1">
            <a:spLocks noGrp="1"/>
          </p:cNvSpPr>
          <p:nvPr>
            <p:ph type="body" idx="1"/>
          </p:nvPr>
        </p:nvSpPr>
        <p:spPr>
          <a:xfrm>
            <a:off x="1750840" y="3977680"/>
            <a:ext cx="20245560" cy="8646120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r>
              <a:rPr lang="en-US" sz="3600" dirty="0"/>
              <a:t>In order to eliminate the overfitting, we used Hyperparameter  </a:t>
            </a:r>
            <a:r>
              <a:rPr lang="en-US" sz="3600" dirty="0" err="1"/>
              <a:t>ccp_alpha</a:t>
            </a:r>
            <a:r>
              <a:rPr lang="en-US" sz="3600" dirty="0"/>
              <a:t> in Grid-Search for pruning the trees</a:t>
            </a:r>
          </a:p>
          <a:p>
            <a:pPr marL="0" indent="0">
              <a:buNone/>
            </a:pPr>
            <a:endParaRPr lang="en-US" sz="3600" dirty="0"/>
          </a:p>
          <a:p>
            <a:endParaRPr lang="en-US" sz="3600" dirty="0"/>
          </a:p>
          <a:p>
            <a:r>
              <a:rPr lang="en-US" sz="3600" dirty="0"/>
              <a:t>In grid search we got the smallest option in </a:t>
            </a:r>
            <a:r>
              <a:rPr lang="en-US" sz="3600" dirty="0" err="1"/>
              <a:t>ccp_alpha</a:t>
            </a:r>
            <a:r>
              <a:rPr lang="en-US" sz="3600" dirty="0"/>
              <a:t> therefore we run it again with more options smaller then previous</a:t>
            </a:r>
          </a:p>
          <a:p>
            <a:endParaRPr lang="en-US" sz="4800" dirty="0"/>
          </a:p>
          <a:p>
            <a:endParaRPr lang="en-US" dirty="0"/>
          </a:p>
          <a:p>
            <a:pPr>
              <a:buBlip>
                <a:blip r:embed="rId2"/>
              </a:buBlip>
            </a:pPr>
            <a:endParaRPr dirty="0"/>
          </a:p>
        </p:txBody>
      </p:sp>
      <p:pic>
        <p:nvPicPr>
          <p:cNvPr id="3" name="תמונה 2">
            <a:extLst>
              <a:ext uri="{FF2B5EF4-FFF2-40B4-BE49-F238E27FC236}">
                <a16:creationId xmlns:a16="http://schemas.microsoft.com/office/drawing/2014/main" id="{EAFA2EEB-4DEF-4205-9988-CD88B60F89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99112" y="9958800"/>
            <a:ext cx="5908759" cy="2699063"/>
          </a:xfrm>
          <a:prstGeom prst="rect">
            <a:avLst/>
          </a:prstGeom>
        </p:spPr>
      </p:pic>
      <p:sp>
        <p:nvSpPr>
          <p:cNvPr id="4" name="חץ: ימינה 3">
            <a:extLst>
              <a:ext uri="{FF2B5EF4-FFF2-40B4-BE49-F238E27FC236}">
                <a16:creationId xmlns:a16="http://schemas.microsoft.com/office/drawing/2014/main" id="{44AF1A94-4FF5-49C1-A5C1-61FBBA894835}"/>
              </a:ext>
            </a:extLst>
          </p:cNvPr>
          <p:cNvSpPr/>
          <p:nvPr/>
        </p:nvSpPr>
        <p:spPr>
          <a:xfrm>
            <a:off x="11471920" y="10944292"/>
            <a:ext cx="2520280" cy="432048"/>
          </a:xfrm>
          <a:prstGeom prst="rightArrow">
            <a:avLst/>
          </a:prstGeom>
          <a:solidFill>
            <a:schemeClr val="bg2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he-IL" sz="4200" b="0" i="0" u="none" strike="noStrike" cap="none" spc="0" normalizeH="0" baseline="0" dirty="0">
              <a:ln>
                <a:noFill/>
              </a:ln>
              <a:solidFill>
                <a:srgbClr val="EEEEEE"/>
              </a:solidFill>
              <a:effectLst>
                <a:outerShdw blurRad="25400" dist="25400" dir="2388334" rotWithShape="0">
                  <a:srgbClr val="000000">
                    <a:alpha val="79310"/>
                  </a:srgbClr>
                </a:outerShdw>
              </a:effectLst>
              <a:uFillTx/>
              <a:latin typeface="Helvetica Neue Bold Condensed"/>
              <a:ea typeface="Helvetica Neue Bold Condensed"/>
              <a:cs typeface="Helvetica Neue Bold Condensed"/>
              <a:sym typeface="Helvetica Neue Bold Condensed"/>
            </a:endParaRPr>
          </a:p>
        </p:txBody>
      </p:sp>
      <p:pic>
        <p:nvPicPr>
          <p:cNvPr id="5" name="תמונה 4">
            <a:extLst>
              <a:ext uri="{FF2B5EF4-FFF2-40B4-BE49-F238E27FC236}">
                <a16:creationId xmlns:a16="http://schemas.microsoft.com/office/drawing/2014/main" id="{FACC42EE-5423-4E33-9EAE-723A5F540B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038736" y="9306273"/>
            <a:ext cx="7202307" cy="3328556"/>
          </a:xfrm>
          <a:prstGeom prst="rect">
            <a:avLst/>
          </a:prstGeom>
        </p:spPr>
      </p:pic>
      <p:pic>
        <p:nvPicPr>
          <p:cNvPr id="9" name="תמונה 8">
            <a:extLst>
              <a:ext uri="{FF2B5EF4-FFF2-40B4-BE49-F238E27FC236}">
                <a16:creationId xmlns:a16="http://schemas.microsoft.com/office/drawing/2014/main" id="{CB31A9EB-11AC-4855-B0A3-BDF8C85E297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416136" y="5057800"/>
            <a:ext cx="9003483" cy="2520280"/>
          </a:xfrm>
          <a:prstGeom prst="rect">
            <a:avLst/>
          </a:prstGeom>
        </p:spPr>
      </p:pic>
    </p:spTree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New_Template6">
  <a:themeElements>
    <a:clrScheme name="New_Template6">
      <a:dk1>
        <a:srgbClr val="000000"/>
      </a:dk1>
      <a:lt1>
        <a:srgbClr val="EEEEEE"/>
      </a:lt1>
      <a:dk2>
        <a:srgbClr val="3E4044"/>
      </a:dk2>
      <a:lt2>
        <a:srgbClr val="DCDDE0"/>
      </a:lt2>
      <a:accent1>
        <a:srgbClr val="0AB8BF"/>
      </a:accent1>
      <a:accent2>
        <a:srgbClr val="82B21C"/>
      </a:accent2>
      <a:accent3>
        <a:srgbClr val="E6A629"/>
      </a:accent3>
      <a:accent4>
        <a:srgbClr val="E86F1B"/>
      </a:accent4>
      <a:accent5>
        <a:srgbClr val="C4411D"/>
      </a:accent5>
      <a:accent6>
        <a:srgbClr val="795B8C"/>
      </a:accent6>
      <a:hlink>
        <a:srgbClr val="0000FF"/>
      </a:hlink>
      <a:folHlink>
        <a:srgbClr val="FF00FF"/>
      </a:folHlink>
    </a:clrScheme>
    <a:fontScheme name="New_Template6">
      <a:majorFont>
        <a:latin typeface="Superclarendon Regular"/>
        <a:ea typeface="Superclarendon Regular"/>
        <a:cs typeface="Superclarendon Regular"/>
      </a:majorFont>
      <a:minorFont>
        <a:latin typeface="Superclarendon Regular"/>
        <a:ea typeface="Superclarendon Regular"/>
        <a:cs typeface="Superclarendon Regular"/>
      </a:minorFont>
    </a:fontScheme>
    <a:fmtScheme name="New_Template6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4200" b="0" i="0" u="none" strike="noStrike" cap="none" spc="0" normalizeH="0" baseline="0">
            <a:ln>
              <a:noFill/>
            </a:ln>
            <a:solidFill>
              <a:srgbClr val="EEEEEE"/>
            </a:solidFill>
            <a:effectLst>
              <a:outerShdw blurRad="25400" dist="25400" dir="2388334" rotWithShape="0">
                <a:srgbClr val="000000">
                  <a:alpha val="79310"/>
                </a:srgbClr>
              </a:outerShdw>
            </a:effectLst>
            <a:uFillTx/>
            <a:latin typeface="Helvetica Neue Bold Condensed"/>
            <a:ea typeface="Helvetica Neue Bold Condensed"/>
            <a:cs typeface="Helvetica Neue Bold Condensed"/>
            <a:sym typeface="Helvetica Neue Bold Condensed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>
          <a:noFill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200" b="0" i="0" u="none" strike="noStrike" cap="none" spc="0" normalizeH="0" baseline="0">
            <a:ln>
              <a:noFill/>
            </a:ln>
            <a:solidFill>
              <a:srgbClr val="EEEEEE"/>
            </a:solidFill>
            <a:effectLst/>
            <a:uFillTx/>
            <a:latin typeface="Helvetica Neue Bold Condensed"/>
            <a:ea typeface="Helvetica Neue Bold Condensed"/>
            <a:cs typeface="Helvetica Neue Bold Condensed"/>
            <a:sym typeface="Helvetica Neue Bold Condensed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New_Template6">
  <a:themeElements>
    <a:clrScheme name="New_Template6">
      <a:dk1>
        <a:srgbClr val="000000"/>
      </a:dk1>
      <a:lt1>
        <a:srgbClr val="FFFFFF"/>
      </a:lt1>
      <a:dk2>
        <a:srgbClr val="3E4044"/>
      </a:dk2>
      <a:lt2>
        <a:srgbClr val="DCDDE0"/>
      </a:lt2>
      <a:accent1>
        <a:srgbClr val="0AB8BF"/>
      </a:accent1>
      <a:accent2>
        <a:srgbClr val="82B21C"/>
      </a:accent2>
      <a:accent3>
        <a:srgbClr val="E6A629"/>
      </a:accent3>
      <a:accent4>
        <a:srgbClr val="E86F1B"/>
      </a:accent4>
      <a:accent5>
        <a:srgbClr val="C4411D"/>
      </a:accent5>
      <a:accent6>
        <a:srgbClr val="795B8C"/>
      </a:accent6>
      <a:hlink>
        <a:srgbClr val="0000FF"/>
      </a:hlink>
      <a:folHlink>
        <a:srgbClr val="FF00FF"/>
      </a:folHlink>
    </a:clrScheme>
    <a:fontScheme name="New_Template6">
      <a:majorFont>
        <a:latin typeface="Superclarendon Regular"/>
        <a:ea typeface="Superclarendon Regular"/>
        <a:cs typeface="Superclarendon Regular"/>
      </a:majorFont>
      <a:minorFont>
        <a:latin typeface="Superclarendon Regular"/>
        <a:ea typeface="Superclarendon Regular"/>
        <a:cs typeface="Superclarendon Regular"/>
      </a:minorFont>
    </a:fontScheme>
    <a:fmtScheme name="New_Template6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4200" b="0" i="0" u="none" strike="noStrike" cap="none" spc="0" normalizeH="0" baseline="0">
            <a:ln>
              <a:noFill/>
            </a:ln>
            <a:solidFill>
              <a:srgbClr val="EEEEEE"/>
            </a:solidFill>
            <a:effectLst>
              <a:outerShdw blurRad="25400" dist="25400" dir="2388334" rotWithShape="0">
                <a:srgbClr val="000000">
                  <a:alpha val="79310"/>
                </a:srgbClr>
              </a:outerShdw>
            </a:effectLst>
            <a:uFillTx/>
            <a:latin typeface="Helvetica Neue Bold Condensed"/>
            <a:ea typeface="Helvetica Neue Bold Condensed"/>
            <a:cs typeface="Helvetica Neue Bold Condensed"/>
            <a:sym typeface="Helvetica Neue Bold Condensed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>
          <a:noFill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200" b="0" i="0" u="none" strike="noStrike" cap="none" spc="0" normalizeH="0" baseline="0">
            <a:ln>
              <a:noFill/>
            </a:ln>
            <a:solidFill>
              <a:srgbClr val="EEEEEE"/>
            </a:solidFill>
            <a:effectLst/>
            <a:uFillTx/>
            <a:latin typeface="Helvetica Neue Bold Condensed"/>
            <a:ea typeface="Helvetica Neue Bold Condensed"/>
            <a:cs typeface="Helvetica Neue Bold Condensed"/>
            <a:sym typeface="Helvetica Neue Bold Condensed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Override1.xml><?xml version="1.0" encoding="utf-8"?>
<a:themeOverride xmlns:a="http://schemas.openxmlformats.org/drawingml/2006/main">
  <a:clrScheme name="New_Template6">
    <a:dk1>
      <a:srgbClr val="000000"/>
    </a:dk1>
    <a:lt1>
      <a:srgbClr val="EEEEEE"/>
    </a:lt1>
    <a:dk2>
      <a:srgbClr val="3E4044"/>
    </a:dk2>
    <a:lt2>
      <a:srgbClr val="DCDDE0"/>
    </a:lt2>
    <a:accent1>
      <a:srgbClr val="0AB8BF"/>
    </a:accent1>
    <a:accent2>
      <a:srgbClr val="82B21C"/>
    </a:accent2>
    <a:accent3>
      <a:srgbClr val="E6A629"/>
    </a:accent3>
    <a:accent4>
      <a:srgbClr val="E86F1B"/>
    </a:accent4>
    <a:accent5>
      <a:srgbClr val="C4411D"/>
    </a:accent5>
    <a:accent6>
      <a:srgbClr val="795B8C"/>
    </a:accent6>
    <a:hlink>
      <a:srgbClr val="0000FF"/>
    </a:hlink>
    <a:folHlink>
      <a:srgbClr val="FF00F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89</TotalTime>
  <Words>419</Words>
  <Application>Microsoft Office PowerPoint</Application>
  <PresentationFormat>Custom</PresentationFormat>
  <Paragraphs>74</Paragraphs>
  <Slides>1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2" baseType="lpstr">
      <vt:lpstr>Helvetica Neue</vt:lpstr>
      <vt:lpstr>Helvetica Neue Bold Condensed</vt:lpstr>
      <vt:lpstr>Superclarendon Regular</vt:lpstr>
      <vt:lpstr>Wingdings</vt:lpstr>
      <vt:lpstr>New_Template6</vt:lpstr>
      <vt:lpstr>think-cell Slide</vt:lpstr>
      <vt:lpstr>Shufersal   item substitute system for On-line sales</vt:lpstr>
      <vt:lpstr>Agenda</vt:lpstr>
      <vt:lpstr>Business Issue</vt:lpstr>
      <vt:lpstr>Target value and model process</vt:lpstr>
      <vt:lpstr>EDA</vt:lpstr>
      <vt:lpstr>PowerPoint Presentation</vt:lpstr>
      <vt:lpstr>Data Preparation &amp; Data Manipulation  </vt:lpstr>
      <vt:lpstr>Models &amp; Scores </vt:lpstr>
      <vt:lpstr>Models &amp; Scores </vt:lpstr>
      <vt:lpstr>Models &amp; Scores </vt:lpstr>
      <vt:lpstr>Models &amp; Scores </vt:lpstr>
      <vt:lpstr>Models &amp; Scores </vt:lpstr>
      <vt:lpstr>Last stage</vt:lpstr>
      <vt:lpstr>Last stage</vt:lpstr>
      <vt:lpstr>Conclusion</vt:lpstr>
      <vt:lpstr>Future developme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hufersal   item substitute system for On-line sales</dc:title>
  <dc:creator>Itay Bachtizan</dc:creator>
  <cp:lastModifiedBy>Daniel Koren</cp:lastModifiedBy>
  <cp:revision>34</cp:revision>
  <dcterms:modified xsi:type="dcterms:W3CDTF">2021-05-07T05:44:20Z</dcterms:modified>
</cp:coreProperties>
</file>